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93" r:id="rId1"/>
    <p:sldMasterId id="2147483713" r:id="rId2"/>
    <p:sldMasterId id="2147483720" r:id="rId3"/>
  </p:sldMasterIdLst>
  <p:notesMasterIdLst>
    <p:notesMasterId r:id="rId12"/>
  </p:notesMasterIdLst>
  <p:sldIdLst>
    <p:sldId id="304" r:id="rId4"/>
    <p:sldId id="317" r:id="rId5"/>
    <p:sldId id="318" r:id="rId6"/>
    <p:sldId id="319" r:id="rId7"/>
    <p:sldId id="321" r:id="rId8"/>
    <p:sldId id="322" r:id="rId9"/>
    <p:sldId id="320" r:id="rId10"/>
    <p:sldId id="323" r:id="rId11"/>
  </p:sldIdLst>
  <p:sldSz cx="9144000" cy="6858000" type="screen4x3"/>
  <p:notesSz cx="6858000" cy="91440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ace Ameh" initials="GA" lastIdx="3" clrIdx="0">
    <p:extLst>
      <p:ext uri="{19B8F6BF-5375-455C-9EA6-DF929625EA0E}">
        <p15:presenceInfo xmlns:p15="http://schemas.microsoft.com/office/powerpoint/2012/main" userId="Grace Ameh" providerId="None"/>
      </p:ext>
    </p:extLst>
  </p:cmAuthor>
  <p:cmAuthor id="2" name="Oluwaleke Jegede" initials="OJ" lastIdx="1" clrIdx="1">
    <p:extLst>
      <p:ext uri="{19B8F6BF-5375-455C-9EA6-DF929625EA0E}">
        <p15:presenceInfo xmlns:p15="http://schemas.microsoft.com/office/powerpoint/2012/main" userId="S-1-5-21-2101598554-5734229-151231457-117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FDF9"/>
    <a:srgbClr val="FF99FF"/>
    <a:srgbClr val="FF5050"/>
    <a:srgbClr val="FF33CC"/>
    <a:srgbClr val="073670"/>
    <a:srgbClr val="F2F2F2"/>
    <a:srgbClr val="DEEBF7"/>
    <a:srgbClr val="8FAA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Estilo Médio 2 - Destaqu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368" autoAdjust="0"/>
    <p:restoredTop sz="94434" autoAdjust="0"/>
  </p:normalViewPr>
  <p:slideViewPr>
    <p:cSldViewPr snapToGrid="0">
      <p:cViewPr varScale="1">
        <p:scale>
          <a:sx n="83" d="100"/>
          <a:sy n="83" d="100"/>
        </p:scale>
        <p:origin x="1387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A0AD61-4F24-48AA-8F42-F6E7DAE823ED}" type="datetimeFigureOut">
              <a:rPr lang="en-US" smtClean="0"/>
              <a:t>11/1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264A62-04CF-41BF-9E71-751A9D78675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057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jp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9.png"/><Relationship Id="rId5" Type="http://schemas.openxmlformats.org/officeDocument/2006/relationships/image" Target="../media/image8.jpg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0.jp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9.png"/><Relationship Id="rId5" Type="http://schemas.openxmlformats.org/officeDocument/2006/relationships/image" Target="../media/image8.jpg"/><Relationship Id="rId4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 txBox="1">
            <a:spLocks noChangeArrowheads="1"/>
          </p:cNvSpPr>
          <p:nvPr/>
        </p:nvSpPr>
        <p:spPr bwMode="auto">
          <a:xfrm>
            <a:off x="8613776" y="36513"/>
            <a:ext cx="301625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2" name="McK Title Elements"/>
          <p:cNvGrpSpPr>
            <a:grpSpLocks/>
          </p:cNvGrpSpPr>
          <p:nvPr/>
        </p:nvGrpSpPr>
        <p:grpSpPr bwMode="auto">
          <a:xfrm>
            <a:off x="5" y="0"/>
            <a:ext cx="9140825" cy="6859588"/>
            <a:chOff x="0" y="0"/>
            <a:chExt cx="5643" cy="4235"/>
          </a:xfrm>
        </p:grpSpPr>
        <p:sp>
          <p:nvSpPr>
            <p:cNvPr id="6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ocument type</a:t>
              </a: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ate</a:t>
              </a: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1"/>
              <a:ext cx="2773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20649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CONFIDENTIAL AND PROPRIETARY</a:t>
              </a:r>
            </a:p>
            <a:p>
              <a:pPr defTabSz="820649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9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19965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McK Title Elements"/>
          <p:cNvGrpSpPr>
            <a:grpSpLocks/>
          </p:cNvGrpSpPr>
          <p:nvPr/>
        </p:nvGrpSpPr>
        <p:grpSpPr bwMode="auto">
          <a:xfrm>
            <a:off x="5" y="0"/>
            <a:ext cx="9140825" cy="6859588"/>
            <a:chOff x="0" y="0"/>
            <a:chExt cx="5643" cy="4235"/>
          </a:xfrm>
        </p:grpSpPr>
        <p:sp>
          <p:nvSpPr>
            <p:cNvPr id="14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ocument type</a:t>
              </a:r>
            </a:p>
          </p:txBody>
        </p:sp>
        <p:sp>
          <p:nvSpPr>
            <p:cNvPr id="15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ate</a:t>
              </a:r>
            </a:p>
          </p:txBody>
        </p:sp>
        <p:sp>
          <p:nvSpPr>
            <p:cNvPr id="16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7"/>
              <a:ext cx="2772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2021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CONFIDENTIAL AND PROPRIETARY</a:t>
              </a:r>
            </a:p>
            <a:p>
              <a:pPr defTabSz="82021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7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2"/>
            <a:ext cx="5036084" cy="538609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 sz="35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>
                <a:cs typeface="Arial" charset="0"/>
              </a:rPr>
              <a:t> </a:t>
            </a:r>
          </a:p>
        </p:txBody>
      </p:sp>
      <p:sp>
        <p:nvSpPr>
          <p:cNvPr id="22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4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  <a:cs typeface="Arial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3257157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213246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8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4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28159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37226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915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/>
              <a:pPr defTabSz="9139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/>
              <a:t> </a:t>
            </a:r>
          </a:p>
        </p:txBody>
      </p:sp>
      <p:sp>
        <p:nvSpPr>
          <p:cNvPr id="11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4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6512496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3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626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362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>
                <a:cs typeface="Arial" charset="0"/>
              </a:rPr>
              <a:t> </a:t>
            </a:r>
          </a:p>
        </p:txBody>
      </p:sp>
      <p:pic>
        <p:nvPicPr>
          <p:cNvPr id="4" name="Picture 9" descr="http://vaccines.procon.org/files/1-vaccines-images/vaccine_syringe_vials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858148" y="5843604"/>
            <a:ext cx="1087424" cy="756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428437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07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363" tIns="45681" rIns="91363" bIns="4568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01397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2116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626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362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>
                <a:cs typeface="Arial" charset="0"/>
              </a:rPr>
              <a:t> </a:t>
            </a:r>
          </a:p>
        </p:txBody>
      </p:sp>
      <p:pic>
        <p:nvPicPr>
          <p:cNvPr id="4" name="Picture 9" descr="http://vaccines.procon.org/files/1-vaccines-images/vaccine_syringe_vial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48" y="5843604"/>
            <a:ext cx="1087424" cy="756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700050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1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363" tIns="45681" rIns="91363" bIns="4568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81928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93679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9565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55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10934814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79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95F7F2-16D9-49B7-B2CE-BD2A835A5B8D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8/2020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C44C64-1CEA-45F7-A4CF-A565E598417E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54579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 txBox="1">
            <a:spLocks noChangeArrowheads="1"/>
          </p:cNvSpPr>
          <p:nvPr/>
        </p:nvSpPr>
        <p:spPr bwMode="auto">
          <a:xfrm>
            <a:off x="8613784" y="36513"/>
            <a:ext cx="301625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grpSp>
        <p:nvGrpSpPr>
          <p:cNvPr id="2" name="McK Title Elements"/>
          <p:cNvGrpSpPr>
            <a:grpSpLocks/>
          </p:cNvGrpSpPr>
          <p:nvPr/>
        </p:nvGrpSpPr>
        <p:grpSpPr bwMode="auto">
          <a:xfrm>
            <a:off x="10" y="0"/>
            <a:ext cx="9140825" cy="6859588"/>
            <a:chOff x="0" y="0"/>
            <a:chExt cx="5643" cy="4235"/>
          </a:xfrm>
        </p:grpSpPr>
        <p:sp>
          <p:nvSpPr>
            <p:cNvPr id="6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1"/>
              <a:ext cx="2773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0" marR="0" lvl="0" indent="0" algn="l" defTabSz="82004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CONFIDENTIAL AND PROPRIETARY</a:t>
              </a:r>
            </a:p>
            <a:p>
              <a:pPr marL="0" marR="0" lvl="0" indent="0" algn="l" defTabSz="82004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9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0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1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</p:grp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965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McK Title Elements"/>
          <p:cNvGrpSpPr>
            <a:grpSpLocks/>
          </p:cNvGrpSpPr>
          <p:nvPr/>
        </p:nvGrpSpPr>
        <p:grpSpPr bwMode="auto">
          <a:xfrm>
            <a:off x="10" y="0"/>
            <a:ext cx="9140825" cy="6859588"/>
            <a:chOff x="0" y="0"/>
            <a:chExt cx="5643" cy="4235"/>
          </a:xfrm>
        </p:grpSpPr>
        <p:sp>
          <p:nvSpPr>
            <p:cNvPr id="14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5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16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7"/>
              <a:ext cx="2772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0" marR="0" lvl="0" indent="0" algn="l" defTabSz="81960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CONFIDENTIAL AND PROPRIETARY</a:t>
              </a:r>
            </a:p>
            <a:p>
              <a:pPr marL="0" marR="0" lvl="0" indent="0" algn="l" defTabSz="81960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7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8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9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9"/>
            <a:ext cx="5036084" cy="538609"/>
          </a:xfrm>
          <a:prstGeom prst="rect">
            <a:avLst/>
          </a:prstGeom>
        </p:spPr>
        <p:txBody>
          <a:bodyPr lIns="91363" tIns="45681" rIns="91363" bIns="45681"/>
          <a:lstStyle>
            <a:lvl1pPr>
              <a:defRPr sz="35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0" name="Picture 9" descr="http://vaccines.procon.org/files/1-vaccines-images/vaccine_syringe_vials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973784" y="2285992"/>
            <a:ext cx="3900350" cy="2714644"/>
          </a:xfrm>
          <a:prstGeom prst="rect">
            <a:avLst/>
          </a:prstGeom>
          <a:noFill/>
        </p:spPr>
      </p:pic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-6350" y="-3175"/>
            <a:ext cx="9156700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2" name="Rectangle 2"/>
          <p:cNvSpPr txBox="1">
            <a:spLocks noChangeArrowheads="1"/>
          </p:cNvSpPr>
          <p:nvPr/>
        </p:nvSpPr>
        <p:spPr>
          <a:xfrm>
            <a:off x="373040" y="857234"/>
            <a:ext cx="8501094" cy="1015584"/>
          </a:xfrm>
          <a:prstGeom prst="rect">
            <a:avLst/>
          </a:prstGeom>
        </p:spPr>
        <p:txBody>
          <a:bodyPr wrap="square" lIns="0" rIns="107943">
            <a:spAutoFit/>
          </a:bodyPr>
          <a:lstStyle/>
          <a:p>
            <a:pPr marL="0" marR="0" lvl="0" indent="0" algn="l" defTabSz="911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1" i="0" u="none" strike="noStrike" kern="1200" cap="none" spc="0" normalizeH="0" baseline="0" noProof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rthern states routine immunization systems strengthening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0033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McK Disclaimer"/>
          <p:cNvSpPr>
            <a:spLocks noChangeArrowheads="1"/>
          </p:cNvSpPr>
          <p:nvPr/>
        </p:nvSpPr>
        <p:spPr bwMode="auto">
          <a:xfrm>
            <a:off x="373040" y="6401120"/>
            <a:ext cx="5703458" cy="31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1989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AND PROPRIETARY</a:t>
            </a:r>
          </a:p>
          <a:p>
            <a:pPr marL="0" marR="0" lvl="0" indent="0" algn="l" defTabSz="81989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y use of this material without specific permission of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ina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ealth is strictly prohibited</a:t>
            </a:r>
          </a:p>
        </p:txBody>
      </p:sp>
      <p:grpSp>
        <p:nvGrpSpPr>
          <p:cNvPr id="5" name="Group 8"/>
          <p:cNvGrpSpPr>
            <a:grpSpLocks noChangeAspect="1"/>
          </p:cNvGrpSpPr>
          <p:nvPr/>
        </p:nvGrpSpPr>
        <p:grpSpPr>
          <a:xfrm>
            <a:off x="8353293" y="6238981"/>
            <a:ext cx="539192" cy="552090"/>
            <a:chOff x="1600200" y="580073"/>
            <a:chExt cx="4419600" cy="4525327"/>
          </a:xfrm>
        </p:grpSpPr>
        <p:pic>
          <p:nvPicPr>
            <p:cNvPr id="27" name="Picture 3" descr="C:\Users\Muyi\Desktop\Solina admin\Solina logo\Solina logo text.JPG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7" cstate="print"/>
            <a:srcRect l="2897" t="11029" r="13087" b="15441"/>
            <a:stretch>
              <a:fillRect/>
            </a:stretch>
          </p:blipFill>
          <p:spPr bwMode="auto">
            <a:xfrm>
              <a:off x="1600200" y="3962400"/>
              <a:ext cx="4419600" cy="1143000"/>
            </a:xfrm>
            <a:prstGeom prst="rect">
              <a:avLst/>
            </a:prstGeom>
            <a:noFill/>
          </p:spPr>
        </p:pic>
        <p:grpSp>
          <p:nvGrpSpPr>
            <p:cNvPr id="13" name="Group 12"/>
            <p:cNvGrpSpPr/>
            <p:nvPr>
              <p:custDataLst>
                <p:tags r:id="rId2"/>
              </p:custDataLst>
            </p:nvPr>
          </p:nvGrpSpPr>
          <p:grpSpPr>
            <a:xfrm>
              <a:off x="1782763" y="580073"/>
              <a:ext cx="4054475" cy="3382327"/>
              <a:chOff x="1751965" y="594360"/>
              <a:chExt cx="4054475" cy="3382327"/>
            </a:xfrm>
          </p:grpSpPr>
          <p:sp>
            <p:nvSpPr>
              <p:cNvPr id="29" name="Rectangle 2"/>
              <p:cNvSpPr>
                <a:spLocks noChangeArrowheads="1"/>
              </p:cNvSpPr>
              <p:nvPr/>
            </p:nvSpPr>
            <p:spPr bwMode="auto">
              <a:xfrm>
                <a:off x="2419350" y="2286000"/>
                <a:ext cx="1692275" cy="1690687"/>
              </a:xfrm>
              <a:prstGeom prst="rect">
                <a:avLst/>
              </a:prstGeom>
              <a:solidFill>
                <a:srgbClr val="FFA21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endParaRPr>
              </a:p>
            </p:txBody>
          </p:sp>
          <p:grpSp>
            <p:nvGrpSpPr>
              <p:cNvPr id="23" name="Group 29"/>
              <p:cNvGrpSpPr/>
              <p:nvPr/>
            </p:nvGrpSpPr>
            <p:grpSpPr>
              <a:xfrm>
                <a:off x="1751965" y="2674143"/>
                <a:ext cx="914400" cy="914400"/>
                <a:chOff x="1751965" y="2674143"/>
                <a:chExt cx="914400" cy="914400"/>
              </a:xfrm>
            </p:grpSpPr>
            <p:sp>
              <p:nvSpPr>
                <p:cNvPr id="34" name="Rectangle 4"/>
                <p:cNvSpPr>
                  <a:spLocks noChangeArrowheads="1"/>
                </p:cNvSpPr>
                <p:nvPr/>
              </p:nvSpPr>
              <p:spPr bwMode="auto">
                <a:xfrm>
                  <a:off x="1751965" y="2674143"/>
                  <a:ext cx="914400" cy="914400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35" name="Rectangle 5"/>
                <p:cNvSpPr>
                  <a:spLocks noChangeArrowheads="1"/>
                </p:cNvSpPr>
                <p:nvPr/>
              </p:nvSpPr>
              <p:spPr bwMode="auto">
                <a:xfrm>
                  <a:off x="2419350" y="2674143"/>
                  <a:ext cx="247015" cy="914400"/>
                </a:xfrm>
                <a:prstGeom prst="rect">
                  <a:avLst/>
                </a:prstGeom>
                <a:solidFill>
                  <a:srgbClr val="CA600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 charset="0"/>
                  </a:endParaRPr>
                </a:p>
              </p:txBody>
            </p:sp>
          </p:grpSp>
          <p:grpSp>
            <p:nvGrpSpPr>
              <p:cNvPr id="24" name="Group 9"/>
              <p:cNvGrpSpPr/>
              <p:nvPr/>
            </p:nvGrpSpPr>
            <p:grpSpPr>
              <a:xfrm>
                <a:off x="3264408" y="594360"/>
                <a:ext cx="2542032" cy="2542032"/>
                <a:chOff x="3264408" y="594360"/>
                <a:chExt cx="2542032" cy="2542032"/>
              </a:xfrm>
            </p:grpSpPr>
            <p:sp>
              <p:nvSpPr>
                <p:cNvPr id="32" name="Rectangle 7" descr="Solina"/>
                <p:cNvSpPr>
                  <a:spLocks noChangeArrowheads="1"/>
                </p:cNvSpPr>
                <p:nvPr/>
              </p:nvSpPr>
              <p:spPr bwMode="auto">
                <a:xfrm>
                  <a:off x="3264408" y="594360"/>
                  <a:ext cx="2542032" cy="2542032"/>
                </a:xfrm>
                <a:prstGeom prst="rect">
                  <a:avLst/>
                </a:prstGeom>
                <a:solidFill>
                  <a:srgbClr val="C6DF2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33" name="Rectangle 8" descr="Solina"/>
                <p:cNvSpPr>
                  <a:spLocks noChangeArrowheads="1"/>
                </p:cNvSpPr>
                <p:nvPr/>
              </p:nvSpPr>
              <p:spPr bwMode="auto">
                <a:xfrm>
                  <a:off x="3264408" y="2286000"/>
                  <a:ext cx="850392" cy="850392"/>
                </a:xfrm>
                <a:prstGeom prst="rect">
                  <a:avLst/>
                </a:prstGeom>
                <a:solidFill>
                  <a:srgbClr val="8AAC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 charset="0"/>
                  </a:endParaRPr>
                </a:p>
              </p:txBody>
            </p:sp>
          </p:grpSp>
        </p:grpSp>
      </p:grp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57158" y="2285992"/>
            <a:ext cx="4286279" cy="1532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0939608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ectangle 280"/>
          <p:cNvSpPr txBox="1">
            <a:spLocks noChangeArrowheads="1"/>
          </p:cNvSpPr>
          <p:nvPr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marL="0" marR="0" lvl="0" indent="0" algn="l" defTabSz="9136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782C518-DFAA-4ABE-B338-0C7378C1AFCB}" type="slidenum"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l" defTabSz="9136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</a:t>
            </a:r>
          </a:p>
        </p:txBody>
      </p:sp>
      <p:pic>
        <p:nvPicPr>
          <p:cNvPr id="4" name="Picture 9" descr="http://vaccines.procon.org/files/1-vaccines-images/vaccine_syringe_vials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48" y="5843604"/>
            <a:ext cx="1087424" cy="756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370061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95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363" tIns="45681" rIns="91363" bIns="4568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74705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95625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6645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11348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 txBox="1">
            <a:spLocks noChangeArrowheads="1"/>
          </p:cNvSpPr>
          <p:nvPr/>
        </p:nvSpPr>
        <p:spPr bwMode="auto">
          <a:xfrm>
            <a:off x="8613776" y="36513"/>
            <a:ext cx="301625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2" name="McK Title Elements"/>
          <p:cNvGrpSpPr>
            <a:grpSpLocks/>
          </p:cNvGrpSpPr>
          <p:nvPr/>
        </p:nvGrpSpPr>
        <p:grpSpPr bwMode="auto">
          <a:xfrm>
            <a:off x="5" y="0"/>
            <a:ext cx="9140825" cy="6859588"/>
            <a:chOff x="0" y="0"/>
            <a:chExt cx="5643" cy="4235"/>
          </a:xfrm>
        </p:grpSpPr>
        <p:sp>
          <p:nvSpPr>
            <p:cNvPr id="6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ocument type</a:t>
              </a: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ate</a:t>
              </a: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1"/>
              <a:ext cx="2773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20649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CONFIDENTIAL AND PROPRIETARY</a:t>
              </a:r>
            </a:p>
            <a:p>
              <a:pPr defTabSz="820649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9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965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McK Title Elements"/>
          <p:cNvGrpSpPr>
            <a:grpSpLocks/>
          </p:cNvGrpSpPr>
          <p:nvPr/>
        </p:nvGrpSpPr>
        <p:grpSpPr bwMode="auto">
          <a:xfrm>
            <a:off x="5" y="0"/>
            <a:ext cx="9140825" cy="6859588"/>
            <a:chOff x="0" y="0"/>
            <a:chExt cx="5643" cy="4235"/>
          </a:xfrm>
        </p:grpSpPr>
        <p:sp>
          <p:nvSpPr>
            <p:cNvPr id="14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ocument type</a:t>
              </a:r>
            </a:p>
          </p:txBody>
        </p:sp>
        <p:sp>
          <p:nvSpPr>
            <p:cNvPr id="15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ate</a:t>
              </a:r>
            </a:p>
          </p:txBody>
        </p:sp>
        <p:sp>
          <p:nvSpPr>
            <p:cNvPr id="16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7"/>
              <a:ext cx="2772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2021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CONFIDENTIAL AND PROPRIETARY</a:t>
              </a:r>
            </a:p>
            <a:p>
              <a:pPr defTabSz="82021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7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2"/>
            <a:ext cx="5036084" cy="538609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 sz="35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5" name="McK Title Elements"/>
          <p:cNvGrpSpPr>
            <a:grpSpLocks/>
          </p:cNvGrpSpPr>
          <p:nvPr userDrawn="1"/>
        </p:nvGrpSpPr>
        <p:grpSpPr bwMode="auto">
          <a:xfrm>
            <a:off x="10" y="0"/>
            <a:ext cx="9140825" cy="6859588"/>
            <a:chOff x="0" y="0"/>
            <a:chExt cx="5643" cy="4235"/>
          </a:xfrm>
        </p:grpSpPr>
        <p:sp>
          <p:nvSpPr>
            <p:cNvPr id="21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>
                  <a:solidFill>
                    <a:srgbClr val="000000"/>
                  </a:solidFill>
                  <a:cs typeface="Arial" charset="0"/>
                </a:rPr>
                <a:t>Document type</a:t>
              </a:r>
            </a:p>
          </p:txBody>
        </p:sp>
        <p:sp>
          <p:nvSpPr>
            <p:cNvPr id="22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>
                  <a:solidFill>
                    <a:srgbClr val="000000"/>
                  </a:solidFill>
                  <a:cs typeface="Arial" charset="0"/>
                </a:rPr>
                <a:t>Date</a:t>
              </a:r>
            </a:p>
          </p:txBody>
        </p:sp>
        <p:sp>
          <p:nvSpPr>
            <p:cNvPr id="23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7"/>
              <a:ext cx="2772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1960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>
                  <a:solidFill>
                    <a:srgbClr val="000000"/>
                  </a:solidFill>
                  <a:cs typeface="Arial" charset="0"/>
                </a:rPr>
                <a:t>CONFIDENTIAL AND PROPRIETARY</a:t>
              </a:r>
            </a:p>
            <a:p>
              <a:pPr defTabSz="81960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>
                  <a:solidFill>
                    <a:srgbClr val="000000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2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27" name="Picture 9" descr="http://vaccines.procon.org/files/1-vaccines-images/vaccine_syringe_vials.jp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973784" y="2285992"/>
            <a:ext cx="3900350" cy="2714644"/>
          </a:xfrm>
          <a:prstGeom prst="rect">
            <a:avLst/>
          </a:prstGeom>
          <a:noFill/>
        </p:spPr>
      </p:pic>
      <p:pic>
        <p:nvPicPr>
          <p:cNvPr id="28" name="Picture 3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-6350" y="-3175"/>
            <a:ext cx="9156700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9" name="Rectangle 2"/>
          <p:cNvSpPr txBox="1">
            <a:spLocks noChangeArrowheads="1"/>
          </p:cNvSpPr>
          <p:nvPr userDrawn="1"/>
        </p:nvSpPr>
        <p:spPr>
          <a:xfrm>
            <a:off x="373040" y="857234"/>
            <a:ext cx="8501094" cy="1015584"/>
          </a:xfrm>
          <a:prstGeom prst="rect">
            <a:avLst/>
          </a:prstGeom>
        </p:spPr>
        <p:txBody>
          <a:bodyPr wrap="square" lIns="0" rIns="107943">
            <a:spAutoFit/>
          </a:bodyPr>
          <a:lstStyle/>
          <a:p>
            <a:pPr defTabSz="9117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3000" b="1" kern="0">
                <a:solidFill>
                  <a:srgbClr val="003300"/>
                </a:solidFill>
              </a:rPr>
              <a:t>Northern states routine immunization systems strengthening</a:t>
            </a:r>
            <a:endParaRPr lang="en-US" sz="3000" b="1" kern="0" dirty="0">
              <a:solidFill>
                <a:srgbClr val="003300"/>
              </a:solidFill>
            </a:endParaRPr>
          </a:p>
        </p:txBody>
      </p:sp>
      <p:sp>
        <p:nvSpPr>
          <p:cNvPr id="30" name="McK Disclaimer"/>
          <p:cNvSpPr>
            <a:spLocks noChangeArrowheads="1"/>
          </p:cNvSpPr>
          <p:nvPr userDrawn="1"/>
        </p:nvSpPr>
        <p:spPr bwMode="auto">
          <a:xfrm>
            <a:off x="373040" y="6401120"/>
            <a:ext cx="5703458" cy="31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defTabSz="819898" eaLnBrk="0" hangingPunct="0"/>
            <a:r>
              <a:rPr lang="en-US" sz="1000" dirty="0">
                <a:solidFill>
                  <a:srgbClr val="000000"/>
                </a:solidFill>
              </a:rPr>
              <a:t>CONFIDENTIAL AND PROPRIETARY</a:t>
            </a:r>
          </a:p>
          <a:p>
            <a:pPr defTabSz="819898" eaLnBrk="0" hangingPunct="0"/>
            <a:r>
              <a:rPr lang="en-US" sz="1000" dirty="0">
                <a:solidFill>
                  <a:srgbClr val="000000"/>
                </a:solidFill>
              </a:rPr>
              <a:t>Any use of this material without specific permission of </a:t>
            </a:r>
            <a:r>
              <a:rPr lang="en-US" sz="1000" dirty="0" err="1">
                <a:solidFill>
                  <a:srgbClr val="000000"/>
                </a:solidFill>
              </a:rPr>
              <a:t>Solina</a:t>
            </a:r>
            <a:r>
              <a:rPr lang="en-US" sz="1000" dirty="0">
                <a:solidFill>
                  <a:srgbClr val="000000"/>
                </a:solidFill>
              </a:rPr>
              <a:t> Health is strictly prohibited</a:t>
            </a:r>
          </a:p>
        </p:txBody>
      </p:sp>
      <p:grpSp>
        <p:nvGrpSpPr>
          <p:cNvPr id="13" name="Group 8"/>
          <p:cNvGrpSpPr>
            <a:grpSpLocks noChangeAspect="1"/>
          </p:cNvGrpSpPr>
          <p:nvPr userDrawn="1"/>
        </p:nvGrpSpPr>
        <p:grpSpPr>
          <a:xfrm>
            <a:off x="8353293" y="6238981"/>
            <a:ext cx="539192" cy="552090"/>
            <a:chOff x="1600200" y="580073"/>
            <a:chExt cx="4419600" cy="4525327"/>
          </a:xfrm>
        </p:grpSpPr>
        <p:pic>
          <p:nvPicPr>
            <p:cNvPr id="32" name="Picture 3" descr="C:\Users\Muyi\Desktop\Solina admin\Solina logo\Solina logo text.JPG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7" cstate="print"/>
            <a:srcRect l="2897" t="11029" r="13087" b="15441"/>
            <a:stretch>
              <a:fillRect/>
            </a:stretch>
          </p:blipFill>
          <p:spPr bwMode="auto">
            <a:xfrm>
              <a:off x="1600200" y="3962400"/>
              <a:ext cx="4419600" cy="1143000"/>
            </a:xfrm>
            <a:prstGeom prst="rect">
              <a:avLst/>
            </a:prstGeom>
            <a:noFill/>
          </p:spPr>
        </p:pic>
        <p:grpSp>
          <p:nvGrpSpPr>
            <p:cNvPr id="20" name="Group 12"/>
            <p:cNvGrpSpPr/>
            <p:nvPr>
              <p:custDataLst>
                <p:tags r:id="rId2"/>
              </p:custDataLst>
            </p:nvPr>
          </p:nvGrpSpPr>
          <p:grpSpPr>
            <a:xfrm>
              <a:off x="1782763" y="580073"/>
              <a:ext cx="4054475" cy="3382327"/>
              <a:chOff x="1751965" y="594360"/>
              <a:chExt cx="4054475" cy="3382327"/>
            </a:xfrm>
          </p:grpSpPr>
          <p:sp>
            <p:nvSpPr>
              <p:cNvPr id="34" name="Rectangle 2"/>
              <p:cNvSpPr>
                <a:spLocks noChangeArrowheads="1"/>
              </p:cNvSpPr>
              <p:nvPr/>
            </p:nvSpPr>
            <p:spPr bwMode="auto">
              <a:xfrm>
                <a:off x="2419350" y="2286000"/>
                <a:ext cx="1692275" cy="1690687"/>
              </a:xfrm>
              <a:prstGeom prst="rect">
                <a:avLst/>
              </a:prstGeom>
              <a:solidFill>
                <a:srgbClr val="FFA21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grpSp>
            <p:nvGrpSpPr>
              <p:cNvPr id="31" name="Group 34"/>
              <p:cNvGrpSpPr/>
              <p:nvPr/>
            </p:nvGrpSpPr>
            <p:grpSpPr>
              <a:xfrm>
                <a:off x="1751965" y="2674143"/>
                <a:ext cx="914400" cy="914400"/>
                <a:chOff x="1751965" y="2674143"/>
                <a:chExt cx="914400" cy="914400"/>
              </a:xfrm>
            </p:grpSpPr>
            <p:sp>
              <p:nvSpPr>
                <p:cNvPr id="39" name="Rectangle 4"/>
                <p:cNvSpPr>
                  <a:spLocks noChangeArrowheads="1"/>
                </p:cNvSpPr>
                <p:nvPr/>
              </p:nvSpPr>
              <p:spPr bwMode="auto">
                <a:xfrm>
                  <a:off x="1751965" y="2674143"/>
                  <a:ext cx="914400" cy="914400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40" name="Rectangle 5"/>
                <p:cNvSpPr>
                  <a:spLocks noChangeArrowheads="1"/>
                </p:cNvSpPr>
                <p:nvPr/>
              </p:nvSpPr>
              <p:spPr bwMode="auto">
                <a:xfrm>
                  <a:off x="2419350" y="2674143"/>
                  <a:ext cx="247015" cy="914400"/>
                </a:xfrm>
                <a:prstGeom prst="rect">
                  <a:avLst/>
                </a:prstGeom>
                <a:solidFill>
                  <a:srgbClr val="CA600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  <p:grpSp>
            <p:nvGrpSpPr>
              <p:cNvPr id="33" name="Group 9"/>
              <p:cNvGrpSpPr/>
              <p:nvPr/>
            </p:nvGrpSpPr>
            <p:grpSpPr>
              <a:xfrm>
                <a:off x="3264408" y="594360"/>
                <a:ext cx="2542032" cy="2542032"/>
                <a:chOff x="3264408" y="594360"/>
                <a:chExt cx="2542032" cy="2542032"/>
              </a:xfrm>
            </p:grpSpPr>
            <p:sp>
              <p:nvSpPr>
                <p:cNvPr id="37" name="Rectangle 7" descr="Solina"/>
                <p:cNvSpPr>
                  <a:spLocks noChangeArrowheads="1"/>
                </p:cNvSpPr>
                <p:nvPr/>
              </p:nvSpPr>
              <p:spPr bwMode="auto">
                <a:xfrm>
                  <a:off x="3264408" y="594360"/>
                  <a:ext cx="2542032" cy="2542032"/>
                </a:xfrm>
                <a:prstGeom prst="rect">
                  <a:avLst/>
                </a:prstGeom>
                <a:solidFill>
                  <a:srgbClr val="C6DF2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38" name="Rectangle 8" descr="Solina"/>
                <p:cNvSpPr>
                  <a:spLocks noChangeArrowheads="1"/>
                </p:cNvSpPr>
                <p:nvPr/>
              </p:nvSpPr>
              <p:spPr bwMode="auto">
                <a:xfrm>
                  <a:off x="3264408" y="2286000"/>
                  <a:ext cx="850392" cy="850392"/>
                </a:xfrm>
                <a:prstGeom prst="rect">
                  <a:avLst/>
                </a:prstGeom>
                <a:solidFill>
                  <a:srgbClr val="8AAC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</p:grpSp>
      </p:grpSp>
      <p:pic>
        <p:nvPicPr>
          <p:cNvPr id="41" name="Picture 3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57158" y="2285992"/>
            <a:ext cx="4286279" cy="1532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7971113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ectangle 280"/>
          <p:cNvSpPr txBox="1">
            <a:spLocks noChangeArrowheads="1"/>
          </p:cNvSpPr>
          <p:nvPr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>
                <a:cs typeface="Arial" charset="0"/>
              </a:rPr>
              <a:t> </a:t>
            </a:r>
          </a:p>
        </p:txBody>
      </p:sp>
      <p:sp>
        <p:nvSpPr>
          <p:cNvPr id="4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626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362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>
                <a:cs typeface="Arial" charset="0"/>
              </a:rPr>
              <a:t> </a:t>
            </a:r>
          </a:p>
        </p:txBody>
      </p:sp>
      <p:pic>
        <p:nvPicPr>
          <p:cNvPr id="5" name="Picture 9" descr="http://vaccines.procon.org/files/1-vaccines-images/vaccine_syringe_vial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48" y="5843604"/>
            <a:ext cx="1087424" cy="756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095124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4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  <a:cs typeface="Arial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2936356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56" y="4407330"/>
            <a:ext cx="7771995" cy="1261884"/>
          </a:xfrm>
          <a:prstGeom prst="rect">
            <a:avLst/>
          </a:prstGeom>
        </p:spPr>
        <p:txBody>
          <a:bodyPr lIns="91430" tIns="45716" rIns="91430" bIns="45716"/>
          <a:lstStyle>
            <a:lvl1pPr algn="l">
              <a:defRPr sz="41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56" y="2907443"/>
            <a:ext cx="7771995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165" indent="0">
              <a:buNone/>
              <a:defRPr sz="1800"/>
            </a:lvl2pPr>
            <a:lvl3pPr marL="932333" indent="0">
              <a:buNone/>
              <a:defRPr sz="1600"/>
            </a:lvl3pPr>
            <a:lvl4pPr marL="1398499" indent="0">
              <a:buNone/>
              <a:defRPr sz="1400"/>
            </a:lvl4pPr>
            <a:lvl5pPr marL="1864668" indent="0">
              <a:buNone/>
              <a:defRPr sz="1400"/>
            </a:lvl5pPr>
            <a:lvl6pPr marL="2330834" indent="0">
              <a:buNone/>
              <a:defRPr sz="1400"/>
            </a:lvl6pPr>
            <a:lvl7pPr marL="2796999" indent="0">
              <a:buNone/>
              <a:defRPr sz="1400"/>
            </a:lvl7pPr>
            <a:lvl8pPr marL="3263166" indent="0">
              <a:buNone/>
              <a:defRPr sz="1400"/>
            </a:lvl8pPr>
            <a:lvl9pPr marL="372933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5945349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8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4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0122978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9" y="275357"/>
            <a:ext cx="8230410" cy="314028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799" y="1535522"/>
            <a:ext cx="403988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165" indent="0">
              <a:buNone/>
              <a:defRPr sz="2000" b="1"/>
            </a:lvl2pPr>
            <a:lvl3pPr marL="932333" indent="0">
              <a:buNone/>
              <a:defRPr sz="1800" b="1"/>
            </a:lvl3pPr>
            <a:lvl4pPr marL="1398499" indent="0">
              <a:buNone/>
              <a:defRPr sz="1600" b="1"/>
            </a:lvl4pPr>
            <a:lvl5pPr marL="1864668" indent="0">
              <a:buNone/>
              <a:defRPr sz="1600" b="1"/>
            </a:lvl5pPr>
            <a:lvl6pPr marL="2330834" indent="0">
              <a:buNone/>
              <a:defRPr sz="1600" b="1"/>
            </a:lvl6pPr>
            <a:lvl7pPr marL="2796999" indent="0">
              <a:buNone/>
              <a:defRPr sz="1600" b="1"/>
            </a:lvl7pPr>
            <a:lvl8pPr marL="3263166" indent="0">
              <a:buNone/>
              <a:defRPr sz="1600" b="1"/>
            </a:lvl8pPr>
            <a:lvl9pPr marL="372933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799" y="2175322"/>
            <a:ext cx="403988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3" y="1535522"/>
            <a:ext cx="404150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165" indent="0">
              <a:buNone/>
              <a:defRPr sz="2000" b="1"/>
            </a:lvl2pPr>
            <a:lvl3pPr marL="932333" indent="0">
              <a:buNone/>
              <a:defRPr sz="1800" b="1"/>
            </a:lvl3pPr>
            <a:lvl4pPr marL="1398499" indent="0">
              <a:buNone/>
              <a:defRPr sz="1600" b="1"/>
            </a:lvl4pPr>
            <a:lvl5pPr marL="1864668" indent="0">
              <a:buNone/>
              <a:defRPr sz="1600" b="1"/>
            </a:lvl5pPr>
            <a:lvl6pPr marL="2330834" indent="0">
              <a:buNone/>
              <a:defRPr sz="1600" b="1"/>
            </a:lvl6pPr>
            <a:lvl7pPr marL="2796999" indent="0">
              <a:buNone/>
              <a:defRPr sz="1600" b="1"/>
            </a:lvl7pPr>
            <a:lvl8pPr marL="3263166" indent="0">
              <a:buNone/>
              <a:defRPr sz="1600" b="1"/>
            </a:lvl8pPr>
            <a:lvl9pPr marL="372933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3" y="2175322"/>
            <a:ext cx="404150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6615326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96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29340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0095983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807043"/>
            <a:ext cx="3008044" cy="628056"/>
          </a:xfrm>
          <a:prstGeom prst="rect">
            <a:avLst/>
          </a:prstGeom>
        </p:spPr>
        <p:txBody>
          <a:bodyPr lIns="91430" tIns="45716" rIns="91430" bIns="45716"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92" y="273741"/>
            <a:ext cx="5112217" cy="585213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6165" indent="0">
              <a:buNone/>
              <a:defRPr sz="1200"/>
            </a:lvl2pPr>
            <a:lvl3pPr marL="932333" indent="0">
              <a:buNone/>
              <a:defRPr sz="1000"/>
            </a:lvl3pPr>
            <a:lvl4pPr marL="1398499" indent="0">
              <a:buNone/>
              <a:defRPr sz="900"/>
            </a:lvl4pPr>
            <a:lvl5pPr marL="1864668" indent="0">
              <a:buNone/>
              <a:defRPr sz="900"/>
            </a:lvl5pPr>
            <a:lvl6pPr marL="2330834" indent="0">
              <a:buNone/>
              <a:defRPr sz="900"/>
            </a:lvl6pPr>
            <a:lvl7pPr marL="2796999" indent="0">
              <a:buNone/>
              <a:defRPr sz="900"/>
            </a:lvl7pPr>
            <a:lvl8pPr marL="3263166" indent="0">
              <a:buNone/>
              <a:defRPr sz="900"/>
            </a:lvl8pPr>
            <a:lvl9pPr marL="372933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7904146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544" y="5053813"/>
            <a:ext cx="5486400" cy="314028"/>
          </a:xfrm>
          <a:prstGeom prst="rect">
            <a:avLst/>
          </a:prstGeom>
        </p:spPr>
        <p:txBody>
          <a:bodyPr lIns="91430" tIns="45716" rIns="91430" bIns="45716"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6165" indent="0">
              <a:buNone/>
              <a:defRPr sz="2900"/>
            </a:lvl2pPr>
            <a:lvl3pPr marL="932333" indent="0">
              <a:buNone/>
              <a:defRPr sz="2400"/>
            </a:lvl3pPr>
            <a:lvl4pPr marL="1398499" indent="0">
              <a:buNone/>
              <a:defRPr sz="2000"/>
            </a:lvl4pPr>
            <a:lvl5pPr marL="1864668" indent="0">
              <a:buNone/>
              <a:defRPr sz="2000"/>
            </a:lvl5pPr>
            <a:lvl6pPr marL="2330834" indent="0">
              <a:buNone/>
              <a:defRPr sz="2000"/>
            </a:lvl6pPr>
            <a:lvl7pPr marL="2796999" indent="0">
              <a:buNone/>
              <a:defRPr sz="2000"/>
            </a:lvl7pPr>
            <a:lvl8pPr marL="3263166" indent="0">
              <a:buNone/>
              <a:defRPr sz="2000"/>
            </a:lvl8pPr>
            <a:lvl9pPr marL="372933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4"/>
          </a:xfrm>
        </p:spPr>
        <p:txBody>
          <a:bodyPr/>
          <a:lstStyle>
            <a:lvl1pPr marL="0" indent="0">
              <a:buNone/>
              <a:defRPr sz="1400"/>
            </a:lvl1pPr>
            <a:lvl2pPr marL="466165" indent="0">
              <a:buNone/>
              <a:defRPr sz="1200"/>
            </a:lvl2pPr>
            <a:lvl3pPr marL="932333" indent="0">
              <a:buNone/>
              <a:defRPr sz="1000"/>
            </a:lvl3pPr>
            <a:lvl4pPr marL="1398499" indent="0">
              <a:buNone/>
              <a:defRPr sz="900"/>
            </a:lvl4pPr>
            <a:lvl5pPr marL="1864668" indent="0">
              <a:buNone/>
              <a:defRPr sz="900"/>
            </a:lvl5pPr>
            <a:lvl6pPr marL="2330834" indent="0">
              <a:buNone/>
              <a:defRPr sz="900"/>
            </a:lvl6pPr>
            <a:lvl7pPr marL="2796999" indent="0">
              <a:buNone/>
              <a:defRPr sz="900"/>
            </a:lvl7pPr>
            <a:lvl8pPr marL="3263166" indent="0">
              <a:buNone/>
              <a:defRPr sz="900"/>
            </a:lvl8pPr>
            <a:lvl9pPr marL="372933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7817283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3890753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0058" y="234867"/>
            <a:ext cx="615553" cy="3003007"/>
          </a:xfrm>
          <a:prstGeom prst="rect">
            <a:avLst/>
          </a:prstGeom>
        </p:spPr>
        <p:txBody>
          <a:bodyPr vert="eaVert"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1488" y="234867"/>
            <a:ext cx="6440486" cy="300300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0806693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626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362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>
                <a:cs typeface="Arial" charset="0"/>
              </a:rPr>
              <a:t> </a:t>
            </a:r>
          </a:p>
        </p:txBody>
      </p:sp>
      <p:pic>
        <p:nvPicPr>
          <p:cNvPr id="4" name="Picture 9" descr="http://vaccines.procon.org/files/1-vaccines-images/vaccine_syringe_vial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48" y="5843604"/>
            <a:ext cx="1087424" cy="756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231877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686800" y="6626304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D41E8A38-46EC-42F1-84F8-C13E5AC8E440}" type="slidenum">
              <a:rPr lang="en-US" sz="900" b="0" i="0" baseline="0" smtClean="0">
                <a:solidFill>
                  <a:schemeClr val="bg1"/>
                </a:solidFill>
              </a:rPr>
              <a:pPr algn="l"/>
              <a:t>‹nº›</a:t>
            </a:fld>
            <a:endParaRPr lang="en-US" sz="1020" b="0" i="0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56517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363" tIns="45681" rIns="91363" bIns="4568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892718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56857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5429844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8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4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520809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2796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20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78340361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3077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686800" y="6626304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EAE6E568-38DE-4287-84A6-43E35374FCAA}" type="slidenum">
              <a:rPr lang="en-US" sz="900" b="0" i="0" baseline="0" smtClean="0">
                <a:solidFill>
                  <a:schemeClr val="bg1"/>
                </a:solidFill>
              </a:rPr>
              <a:pPr algn="l"/>
              <a:t>‹nº›</a:t>
            </a:fld>
            <a:endParaRPr lang="en-US" sz="1020" b="0" i="0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9398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88282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8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4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57794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1C40FF7-ACBA-4626-896D-4879191112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5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1C40FF7-ACBA-4626-896D-487919111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00105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915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/>
              <a:pPr defTabSz="9139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/>
              <a:t> </a:t>
            </a:r>
          </a:p>
        </p:txBody>
      </p:sp>
      <p:sp>
        <p:nvSpPr>
          <p:cNvPr id="11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4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5305233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3" Type="http://schemas.openxmlformats.org/officeDocument/2006/relationships/slideLayout" Target="../slideLayouts/slideLayout24.xml"/><Relationship Id="rId7" Type="http://schemas.openxmlformats.org/officeDocument/2006/relationships/theme" Target="../theme/theme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oleObject" Target="../embeddings/oleObject8.bin"/><Relationship Id="rId5" Type="http://schemas.openxmlformats.org/officeDocument/2006/relationships/slideLayout" Target="../slideLayouts/slideLayout26.xml"/><Relationship Id="rId10" Type="http://schemas.openxmlformats.org/officeDocument/2006/relationships/tags" Target="../tags/tag15.xml"/><Relationship Id="rId4" Type="http://schemas.openxmlformats.org/officeDocument/2006/relationships/slideLayout" Target="../slideLayouts/slideLayout25.xml"/><Relationship Id="rId9" Type="http://schemas.openxmlformats.org/officeDocument/2006/relationships/tags" Target="../tags/tag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0.xml"/><Relationship Id="rId21" Type="http://schemas.openxmlformats.org/officeDocument/2006/relationships/tags" Target="../tags/tag19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vmlDrawing" Target="../drawings/vmlDrawing10.v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oleObject" Target="../embeddings/oleObject10.bin"/><Relationship Id="rId10" Type="http://schemas.openxmlformats.org/officeDocument/2006/relationships/slideLayout" Target="../slideLayouts/slideLayout37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tags" Target="../tags/tag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290097374"/>
              </p:ext>
            </p:extLst>
          </p:nvPr>
        </p:nvGraphicFramePr>
        <p:xfrm>
          <a:off x="158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28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22240" y="26989"/>
            <a:ext cx="876300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2243" y="542929"/>
            <a:ext cx="3729037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290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  <a:cs typeface="Arial" charset="0"/>
              </a:rPr>
              <a:t>Unit of measure</a:t>
            </a:r>
          </a:p>
        </p:txBody>
      </p:sp>
      <p:grpSp>
        <p:nvGrpSpPr>
          <p:cNvPr id="2" name="McK Slide Elements"/>
          <p:cNvGrpSpPr>
            <a:grpSpLocks/>
          </p:cNvGrpSpPr>
          <p:nvPr/>
        </p:nvGrpSpPr>
        <p:grpSpPr bwMode="auto">
          <a:xfrm>
            <a:off x="122243" y="6203952"/>
            <a:ext cx="8721725" cy="520760"/>
            <a:chOff x="75" y="3830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829" indent="-106829" defTabSz="912909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558" indent="-621558" defTabSz="912909" fontAlgn="base">
                <a:spcBef>
                  <a:spcPct val="0"/>
                </a:spcBef>
                <a:spcAft>
                  <a:spcPct val="0"/>
                </a:spcAft>
                <a:tabLst>
                  <a:tab pos="624794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3" name="ACET" hidden="1"/>
          <p:cNvGrpSpPr>
            <a:grpSpLocks/>
          </p:cNvGrpSpPr>
          <p:nvPr/>
        </p:nvGrpSpPr>
        <p:grpSpPr bwMode="auto">
          <a:xfrm>
            <a:off x="1482725" y="1072934"/>
            <a:ext cx="4349719" cy="584197"/>
            <a:chOff x="915" y="662"/>
            <a:chExt cx="2686" cy="361"/>
          </a:xfrm>
        </p:grpSpPr>
        <p:cxnSp>
          <p:nvCxnSpPr>
            <p:cNvPr id="40972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23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662"/>
              <a:ext cx="2686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sp>
        <p:nvSpPr>
          <p:cNvPr id="4096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2305" y="1990730"/>
            <a:ext cx="8221663" cy="124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2243" y="6202367"/>
            <a:ext cx="8721725" cy="520729"/>
            <a:chOff x="75" y="3829"/>
            <a:chExt cx="5385" cy="322"/>
          </a:xfrm>
        </p:grpSpPr>
        <p:sp>
          <p:nvSpPr>
            <p:cNvPr id="14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9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772" indent="-106772" defTabSz="91242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1 Footnote</a:t>
              </a:r>
            </a:p>
          </p:txBody>
        </p:sp>
        <p:sp>
          <p:nvSpPr>
            <p:cNvPr id="15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226" indent="-621226" defTabSz="912426" fontAlgn="base">
                <a:spcBef>
                  <a:spcPct val="0"/>
                </a:spcBef>
                <a:spcAft>
                  <a:spcPct val="0"/>
                </a:spcAft>
                <a:tabLst>
                  <a:tab pos="624460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SOURCE: Source</a:t>
              </a:r>
            </a:p>
          </p:txBody>
        </p:sp>
      </p:grpSp>
      <p:sp>
        <p:nvSpPr>
          <p:cNvPr id="19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>
                <a:cs typeface="Arial" charset="0"/>
              </a:rPr>
              <a:t> </a:t>
            </a:r>
          </a:p>
        </p:txBody>
      </p:sp>
      <p:sp>
        <p:nvSpPr>
          <p:cNvPr id="20" name="SlideLogoSeparator"/>
          <p:cNvSpPr>
            <a:spLocks noChangeArrowheads="1"/>
          </p:cNvSpPr>
          <p:nvPr userDrawn="1">
            <p:custDataLst>
              <p:tags r:id="rId25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4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  <a:cs typeface="Arial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11264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784" r:id="rId4"/>
    <p:sldLayoutId id="2147483785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  <p:sldLayoutId id="2147483689" r:id="rId18"/>
    <p:sldLayoutId id="2147483690" r:id="rId19"/>
    <p:sldLayoutId id="2147483691" r:id="rId20"/>
    <p:sldLayoutId id="2147483692" r:id="rId21"/>
  </p:sldLayoutIdLst>
  <p:hf hdr="0" dt="0"/>
  <p:txStyles>
    <p:titleStyle>
      <a:lvl1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+mj-lt"/>
          <a:ea typeface="+mj-ea"/>
          <a:cs typeface="+mj-cs"/>
        </a:defRPr>
      </a:lvl1pPr>
      <a:lvl2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2pPr>
      <a:lvl3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3pPr>
      <a:lvl4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4pPr>
      <a:lvl5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5pPr>
      <a:lvl6pPr marL="466165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6pPr>
      <a:lvl7pPr marL="932333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7pPr>
      <a:lvl8pPr marL="1398499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8pPr>
      <a:lvl9pPr marL="1864668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9pPr>
    </p:titleStyle>
    <p:bodyStyle>
      <a:lvl1pPr marL="349089" indent="-349089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757" indent="-195174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4923" indent="-266578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186" indent="-157090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0061" indent="-131703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26925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93092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59260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25425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65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333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499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668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834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6999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166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330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93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71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1596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22240" y="26996"/>
            <a:ext cx="876300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2250" y="542929"/>
            <a:ext cx="3729037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0" marR="0" lvl="0" indent="0" algn="l" defTabSz="9122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Unit of measure</a:t>
            </a:r>
          </a:p>
        </p:txBody>
      </p:sp>
      <p:grpSp>
        <p:nvGrpSpPr>
          <p:cNvPr id="2" name="McK Slide Elements"/>
          <p:cNvGrpSpPr>
            <a:grpSpLocks/>
          </p:cNvGrpSpPr>
          <p:nvPr/>
        </p:nvGrpSpPr>
        <p:grpSpPr bwMode="auto">
          <a:xfrm>
            <a:off x="122250" y="6203952"/>
            <a:ext cx="8721725" cy="520760"/>
            <a:chOff x="75" y="3830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750" marR="0" lvl="0" indent="-106750" algn="l" defTabSz="9122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096" marR="0" lvl="0" indent="-621096" algn="l" defTabSz="9122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24330" algn="l"/>
                </a:tabLst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3" name="ACET" hidden="1"/>
          <p:cNvGrpSpPr>
            <a:grpSpLocks/>
          </p:cNvGrpSpPr>
          <p:nvPr/>
        </p:nvGrpSpPr>
        <p:grpSpPr bwMode="auto">
          <a:xfrm>
            <a:off x="1482725" y="1072941"/>
            <a:ext cx="4349719" cy="584197"/>
            <a:chOff x="915" y="662"/>
            <a:chExt cx="2686" cy="361"/>
          </a:xfrm>
        </p:grpSpPr>
        <p:cxnSp>
          <p:nvCxnSpPr>
            <p:cNvPr id="40972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23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662"/>
              <a:ext cx="2686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Title</a:t>
              </a:r>
            </a:p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Unit of measure</a:t>
              </a:r>
            </a:p>
          </p:txBody>
        </p:sp>
      </p:grpSp>
      <p:sp>
        <p:nvSpPr>
          <p:cNvPr id="4096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2312" y="1990737"/>
            <a:ext cx="8221663" cy="124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2250" y="6202374"/>
            <a:ext cx="8721725" cy="520729"/>
            <a:chOff x="75" y="3829"/>
            <a:chExt cx="5385" cy="322"/>
          </a:xfrm>
        </p:grpSpPr>
        <p:sp>
          <p:nvSpPr>
            <p:cNvPr id="14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9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693" marR="0" lvl="0" indent="-106693" algn="l" defTabSz="9117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1 Footnote</a:t>
              </a:r>
            </a:p>
          </p:txBody>
        </p:sp>
        <p:sp>
          <p:nvSpPr>
            <p:cNvPr id="15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0764" marR="0" lvl="0" indent="-620764" algn="l" defTabSz="9117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23996" algn="l"/>
                </a:tabLst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SOURCE: Source</a:t>
              </a:r>
            </a:p>
          </p:txBody>
        </p:sp>
      </p:grpSp>
      <p:sp>
        <p:nvSpPr>
          <p:cNvPr id="17" name="Rectangle 280"/>
          <p:cNvSpPr txBox="1">
            <a:spLocks noChangeArrowheads="1"/>
          </p:cNvSpPr>
          <p:nvPr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marL="0" marR="0" lvl="0" indent="0" algn="l" defTabSz="9136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782C518-DFAA-4ABE-B338-0C7378C1AFCB}" type="slidenum"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l" defTabSz="9136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</a:t>
            </a:r>
          </a:p>
        </p:txBody>
      </p:sp>
      <p:sp>
        <p:nvSpPr>
          <p:cNvPr id="18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89440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614075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</p:sldLayoutIdLst>
  <p:txStyles>
    <p:titleStyle>
      <a:lvl1pPr algn="l" defTabSz="91171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+mj-lt"/>
          <a:ea typeface="+mj-ea"/>
          <a:cs typeface="+mj-cs"/>
        </a:defRPr>
      </a:lvl1pPr>
      <a:lvl2pPr algn="l" defTabSz="91171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2pPr>
      <a:lvl3pPr algn="l" defTabSz="91171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3pPr>
      <a:lvl4pPr algn="l" defTabSz="91171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4pPr>
      <a:lvl5pPr algn="l" defTabSz="91171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5pPr>
      <a:lvl6pPr marL="465822" algn="l" defTabSz="91223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6pPr>
      <a:lvl7pPr marL="931640" algn="l" defTabSz="91223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7pPr>
      <a:lvl8pPr marL="1397463" algn="l" defTabSz="91223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8pPr>
      <a:lvl9pPr marL="1863285" algn="l" defTabSz="91223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9pPr>
    </p:titleStyle>
    <p:bodyStyle>
      <a:lvl1pPr marL="348830" indent="-348830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611" indent="-195030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4576" indent="-266380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4722" indent="-156974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59497" indent="-131606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26016" indent="-132631" algn="l" defTabSz="9122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91837" indent="-132631" algn="l" defTabSz="9122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57659" indent="-132631" algn="l" defTabSz="9122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23479" indent="-132631" algn="l" defTabSz="9122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822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640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463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285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9105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4926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0746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6563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10999717"/>
              </p:ext>
            </p:extLst>
          </p:nvPr>
        </p:nvGraphicFramePr>
        <p:xfrm>
          <a:off x="158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72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22240" y="26989"/>
            <a:ext cx="876300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2243" y="542929"/>
            <a:ext cx="3729037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290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  <a:cs typeface="Arial" charset="0"/>
              </a:rPr>
              <a:t>Unit of measure</a:t>
            </a:r>
          </a:p>
        </p:txBody>
      </p:sp>
      <p:grpSp>
        <p:nvGrpSpPr>
          <p:cNvPr id="2" name="McK Slide Elements"/>
          <p:cNvGrpSpPr>
            <a:grpSpLocks/>
          </p:cNvGrpSpPr>
          <p:nvPr/>
        </p:nvGrpSpPr>
        <p:grpSpPr bwMode="auto">
          <a:xfrm>
            <a:off x="122243" y="6203952"/>
            <a:ext cx="8721725" cy="520760"/>
            <a:chOff x="75" y="3830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829" indent="-106829" defTabSz="912909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558" indent="-621558" defTabSz="912909" fontAlgn="base">
                <a:spcBef>
                  <a:spcPct val="0"/>
                </a:spcBef>
                <a:spcAft>
                  <a:spcPct val="0"/>
                </a:spcAft>
                <a:tabLst>
                  <a:tab pos="624794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3" name="ACET" hidden="1"/>
          <p:cNvGrpSpPr>
            <a:grpSpLocks/>
          </p:cNvGrpSpPr>
          <p:nvPr/>
        </p:nvGrpSpPr>
        <p:grpSpPr bwMode="auto">
          <a:xfrm>
            <a:off x="1482725" y="1072934"/>
            <a:ext cx="4349719" cy="584197"/>
            <a:chOff x="915" y="662"/>
            <a:chExt cx="2686" cy="361"/>
          </a:xfrm>
        </p:grpSpPr>
        <p:cxnSp>
          <p:nvCxnSpPr>
            <p:cNvPr id="40972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23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662"/>
              <a:ext cx="2686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sp>
        <p:nvSpPr>
          <p:cNvPr id="4096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2305" y="1990730"/>
            <a:ext cx="8221663" cy="124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2243" y="6202367"/>
            <a:ext cx="8721725" cy="520729"/>
            <a:chOff x="75" y="3829"/>
            <a:chExt cx="5385" cy="322"/>
          </a:xfrm>
        </p:grpSpPr>
        <p:sp>
          <p:nvSpPr>
            <p:cNvPr id="14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9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772" indent="-106772" defTabSz="91242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1 Footnote</a:t>
              </a:r>
            </a:p>
          </p:txBody>
        </p:sp>
        <p:sp>
          <p:nvSpPr>
            <p:cNvPr id="15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226" indent="-621226" defTabSz="912426" fontAlgn="base">
                <a:spcBef>
                  <a:spcPct val="0"/>
                </a:spcBef>
                <a:spcAft>
                  <a:spcPct val="0"/>
                </a:spcAft>
                <a:tabLst>
                  <a:tab pos="624460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SOURCE: Source</a:t>
              </a:r>
            </a:p>
          </p:txBody>
        </p:sp>
      </p:grpSp>
      <p:sp>
        <p:nvSpPr>
          <p:cNvPr id="17" name="Rectangle 280"/>
          <p:cNvSpPr txBox="1">
            <a:spLocks noChangeArrowheads="1"/>
          </p:cNvSpPr>
          <p:nvPr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>
                <a:cs typeface="Arial" charset="0"/>
              </a:rPr>
              <a:t> </a:t>
            </a:r>
          </a:p>
        </p:txBody>
      </p:sp>
      <p:sp>
        <p:nvSpPr>
          <p:cNvPr id="18" name="SlideLogoSeparator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06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  <a:cs typeface="Arial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965143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</p:sldLayoutIdLst>
  <p:hf hdr="0" ftr="0" dt="0"/>
  <p:txStyles>
    <p:titleStyle>
      <a:lvl1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+mj-lt"/>
          <a:ea typeface="+mj-ea"/>
          <a:cs typeface="+mj-cs"/>
        </a:defRPr>
      </a:lvl1pPr>
      <a:lvl2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2pPr>
      <a:lvl3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3pPr>
      <a:lvl4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4pPr>
      <a:lvl5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5pPr>
      <a:lvl6pPr marL="466165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6pPr>
      <a:lvl7pPr marL="932333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7pPr>
      <a:lvl8pPr marL="1398499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8pPr>
      <a:lvl9pPr marL="1864668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9pPr>
    </p:titleStyle>
    <p:bodyStyle>
      <a:lvl1pPr marL="349089" indent="-349089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757" indent="-195174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4923" indent="-266578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186" indent="-157090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0061" indent="-131703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26925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93092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59260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25425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65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333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499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668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834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6999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166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330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image" Target="../media/image13.gif"/><Relationship Id="rId7" Type="http://schemas.openxmlformats.org/officeDocument/2006/relationships/image" Target="../media/image17.jpeg"/><Relationship Id="rId2" Type="http://schemas.openxmlformats.org/officeDocument/2006/relationships/slideLayout" Target="../slideLayouts/slideLayout3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10" Type="http://schemas.openxmlformats.org/officeDocument/2006/relationships/image" Target="../media/image18.png"/><Relationship Id="rId4" Type="http://schemas.openxmlformats.org/officeDocument/2006/relationships/image" Target="../media/image14.png"/><Relationship Id="rId9" Type="http://schemas.openxmlformats.org/officeDocument/2006/relationships/image" Target="../media/image12.w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C0332367-FDCE-4358-A856-368433D7232C}"/>
              </a:ext>
            </a:extLst>
          </p:cNvPr>
          <p:cNvSpPr txBox="1">
            <a:spLocks/>
          </p:cNvSpPr>
          <p:nvPr/>
        </p:nvSpPr>
        <p:spPr>
          <a:xfrm>
            <a:off x="174812" y="4632075"/>
            <a:ext cx="8794375" cy="397126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None/>
            </a:pPr>
            <a:r>
              <a:rPr lang="en-US" sz="5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issau, 18 de Novembro de 2020</a:t>
            </a:r>
            <a:endParaRPr lang="fr-FR" sz="5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endParaRPr lang="en-US" sz="5600" dirty="0">
              <a:solidFill>
                <a:schemeClr val="bg1"/>
              </a:solidFill>
            </a:endParaRPr>
          </a:p>
        </p:txBody>
      </p:sp>
      <p:pic>
        <p:nvPicPr>
          <p:cNvPr id="4" name="Image 18">
            <a:extLst>
              <a:ext uri="{FF2B5EF4-FFF2-40B4-BE49-F238E27FC236}">
                <a16:creationId xmlns:a16="http://schemas.microsoft.com/office/drawing/2014/main" id="{EDAA5086-1A21-41A9-AA9C-CC45E50700B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4070" y="96424"/>
            <a:ext cx="1365117" cy="862990"/>
          </a:xfrm>
          <a:prstGeom prst="rect">
            <a:avLst/>
          </a:prstGeom>
        </p:spPr>
      </p:pic>
      <p:pic>
        <p:nvPicPr>
          <p:cNvPr id="5" name="Imagem 5">
            <a:extLst>
              <a:ext uri="{FF2B5EF4-FFF2-40B4-BE49-F238E27FC236}">
                <a16:creationId xmlns:a16="http://schemas.microsoft.com/office/drawing/2014/main" id="{407B0754-DB72-4722-9C5E-808E762BAED0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812" y="5298140"/>
            <a:ext cx="1775012" cy="1058209"/>
          </a:xfrm>
          <a:prstGeom prst="rect">
            <a:avLst/>
          </a:prstGeom>
          <a:noFill/>
        </p:spPr>
      </p:pic>
      <p:pic>
        <p:nvPicPr>
          <p:cNvPr id="6" name="Image 7" descr="Description : OMS logo2.jpg">
            <a:extLst>
              <a:ext uri="{FF2B5EF4-FFF2-40B4-BE49-F238E27FC236}">
                <a16:creationId xmlns:a16="http://schemas.microsoft.com/office/drawing/2014/main" id="{85AF78DC-62CA-4E40-8BEF-F7CEDFFDCEA2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0046" y="5298142"/>
            <a:ext cx="2050929" cy="1058208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15">
            <a:extLst>
              <a:ext uri="{FF2B5EF4-FFF2-40B4-BE49-F238E27FC236}">
                <a16:creationId xmlns:a16="http://schemas.microsoft.com/office/drawing/2014/main" id="{B200E0B4-D886-4124-A363-F8359B55C7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11281" y="5298141"/>
            <a:ext cx="2057906" cy="1058207"/>
          </a:xfrm>
          <a:prstGeom prst="rect">
            <a:avLst/>
          </a:prstGeom>
        </p:spPr>
      </p:pic>
      <p:pic>
        <p:nvPicPr>
          <p:cNvPr id="8" name="Image 7" descr="Description : unicef.jpg">
            <a:extLst>
              <a:ext uri="{FF2B5EF4-FFF2-40B4-BE49-F238E27FC236}">
                <a16:creationId xmlns:a16="http://schemas.microsoft.com/office/drawing/2014/main" id="{A4A91C44-59A7-45E7-9907-3482385C1DEE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7069" y="5298141"/>
            <a:ext cx="1903013" cy="91440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81B4C796-5249-4895-A04A-C115F176CF4D}"/>
              </a:ext>
            </a:extLst>
          </p:cNvPr>
          <p:cNvSpPr txBox="1">
            <a:spLocks/>
          </p:cNvSpPr>
          <p:nvPr/>
        </p:nvSpPr>
        <p:spPr>
          <a:xfrm>
            <a:off x="174812" y="1093883"/>
            <a:ext cx="8794375" cy="3469071"/>
          </a:xfrm>
          <a:prstGeom prst="rect">
            <a:avLst/>
          </a:prstGeom>
          <a:solidFill>
            <a:srgbClr val="92D050"/>
          </a:solidFill>
          <a:ln w="9525" cap="flat" cmpd="sng" algn="ctr">
            <a:solidFill>
              <a:srgbClr val="C9D92F"/>
            </a:solidFill>
            <a:prstDash val="solid"/>
            <a:round/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pt-BR" sz="8400" dirty="0">
              <a:solidFill>
                <a:schemeClr val="tx1"/>
              </a:solidFill>
              <a:latin typeface="Arial Black" panose="020B0A04020102020204" pitchFamily="34" charset="0"/>
            </a:endParaRPr>
          </a:p>
          <a:p>
            <a:pPr marL="0" indent="0" algn="ctr">
              <a:buNone/>
            </a:pPr>
            <a:r>
              <a:rPr lang="pt-BR" sz="12300" dirty="0">
                <a:solidFill>
                  <a:schemeClr val="tx1"/>
                </a:solidFill>
                <a:latin typeface="Arial Black" panose="020B0A04020102020204" pitchFamily="34" charset="0"/>
              </a:rPr>
              <a:t>Ata da reunião e Pontos de acção</a:t>
            </a:r>
          </a:p>
          <a:p>
            <a:pPr marL="0" indent="0" algn="ctr">
              <a:buNone/>
            </a:pPr>
            <a:endParaRPr lang="pt-BR" sz="12300" dirty="0">
              <a:solidFill>
                <a:schemeClr val="tx1"/>
              </a:solidFill>
              <a:latin typeface="Arial Black" panose="020B0A04020102020204" pitchFamily="34" charset="0"/>
            </a:endParaRPr>
          </a:p>
          <a:p>
            <a:pPr marL="0" indent="0" algn="ctr">
              <a:buNone/>
            </a:pPr>
            <a:endParaRPr lang="fr-FR" sz="5600" b="1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 Black" panose="020B0A04020102020204" pitchFamily="34" charset="0"/>
            </a:endParaRPr>
          </a:p>
          <a:p>
            <a:pPr marL="0" indent="0" algn="ctr">
              <a:buNone/>
            </a:pPr>
            <a:r>
              <a:rPr lang="fr-FR" sz="96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José Gomes</a:t>
            </a:r>
          </a:p>
          <a:p>
            <a:pPr marL="0" indent="0" algn="ctr">
              <a:buNone/>
            </a:pPr>
            <a:r>
              <a:rPr lang="fr-FR" sz="96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</a:p>
          <a:p>
            <a:pPr marL="0" indent="0" algn="ctr">
              <a:buNone/>
            </a:pPr>
            <a:r>
              <a:rPr lang="fr-FR" sz="80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sp. Supervisão formativa e formação continua SIVE</a:t>
            </a:r>
          </a:p>
        </p:txBody>
      </p:sp>
      <p:graphicFrame>
        <p:nvGraphicFramePr>
          <p:cNvPr id="10" name="Objeto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64729756"/>
              </p:ext>
            </p:extLst>
          </p:nvPr>
        </p:nvGraphicFramePr>
        <p:xfrm>
          <a:off x="174813" y="96423"/>
          <a:ext cx="1365118" cy="8629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18" name="Picture" r:id="rId8" imgW="924480" imgH="924480" progId="Word.Picture.8">
                  <p:embed/>
                </p:oleObj>
              </mc:Choice>
              <mc:Fallback>
                <p:oleObj name="Picture" r:id="rId8" imgW="924480" imgH="924480" progId="Word.Picture.8">
                  <p:embed/>
                  <p:pic>
                    <p:nvPicPr>
                      <p:cNvPr id="10" name="Objeto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/>
                      <a:srcRect l="7423" t="3041" r="9258" b="7423"/>
                      <a:stretch>
                        <a:fillRect/>
                      </a:stretch>
                    </p:blipFill>
                    <p:spPr bwMode="auto">
                      <a:xfrm>
                        <a:off x="174813" y="96423"/>
                        <a:ext cx="1365118" cy="86299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9811F09F-A8CE-4249-8F00-BCF4F1BCD73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66883" y="96424"/>
            <a:ext cx="1277470" cy="862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7458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34096" y="412007"/>
            <a:ext cx="7662930" cy="988629"/>
          </a:xfrm>
        </p:spPr>
        <p:txBody>
          <a:bodyPr/>
          <a:lstStyle/>
          <a:p>
            <a:pPr algn="ctr"/>
            <a:br>
              <a:rPr lang="pt-PT" dirty="0"/>
            </a:br>
            <a:r>
              <a:rPr lang="pt-PT" sz="3200" dirty="0"/>
              <a:t>Ata da reunião CCIA  </a:t>
            </a:r>
            <a:br>
              <a:rPr lang="pt-PT" sz="3200" dirty="0"/>
            </a:br>
            <a:br>
              <a:rPr lang="pt-PT" sz="3200" dirty="0"/>
            </a:br>
            <a:br>
              <a:rPr lang="pt-PT" dirty="0"/>
            </a:br>
            <a:endParaRPr lang="pt-PT" dirty="0"/>
          </a:p>
        </p:txBody>
      </p:sp>
      <p:sp>
        <p:nvSpPr>
          <p:cNvPr id="4" name="CaixaDeTexto 3"/>
          <p:cNvSpPr txBox="1"/>
          <p:nvPr/>
        </p:nvSpPr>
        <p:spPr>
          <a:xfrm>
            <a:off x="425003" y="1400636"/>
            <a:ext cx="7662929" cy="553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pt-P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2000" b="1" dirty="0"/>
              <a:t>DATA</a:t>
            </a:r>
            <a:r>
              <a:rPr lang="pt-PT" sz="2000" dirty="0"/>
              <a:t> - 31.01. 2020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2000" b="1" dirty="0"/>
              <a:t> LOCAL </a:t>
            </a:r>
            <a:r>
              <a:rPr lang="pt-PT" sz="2000" dirty="0"/>
              <a:t>- </a:t>
            </a:r>
            <a:r>
              <a:rPr lang="pt-BR" sz="2000" dirty="0"/>
              <a:t>Sala de Conferencia do SIV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2000" b="1" dirty="0"/>
              <a:t>Presidente</a:t>
            </a:r>
            <a:r>
              <a:rPr lang="pt-PT" sz="2000" dirty="0"/>
              <a:t> - </a:t>
            </a:r>
            <a:r>
              <a:rPr lang="pt-BR" sz="2000" dirty="0"/>
              <a:t>Ministra de Saude Publica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000" dirty="0"/>
          </a:p>
          <a:p>
            <a:r>
              <a:rPr lang="pt-BR" sz="20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2000" b="1" dirty="0"/>
              <a:t>Moderador</a:t>
            </a:r>
            <a:r>
              <a:rPr lang="pt-PT" sz="2000" dirty="0"/>
              <a:t> – </a:t>
            </a:r>
            <a:r>
              <a:rPr lang="pt-BR" sz="2000" dirty="0"/>
              <a:t>DGSMI;</a:t>
            </a:r>
          </a:p>
          <a:p>
            <a:endParaRPr lang="pt-BR" sz="24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24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2400" b="1" dirty="0"/>
              <a:t>Quórum (60% dos membros)</a:t>
            </a:r>
            <a:r>
              <a:rPr lang="pt-PT" sz="2400" dirty="0"/>
              <a:t> = 14/23 membro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2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24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60203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13918" y="478007"/>
            <a:ext cx="7451288" cy="615553"/>
          </a:xfrm>
        </p:spPr>
        <p:txBody>
          <a:bodyPr anchor="b"/>
          <a:lstStyle/>
          <a:p>
            <a:pPr algn="ctr"/>
            <a:br>
              <a:rPr lang="pt-PT" i="1" dirty="0"/>
            </a:br>
            <a:r>
              <a:rPr lang="pt-PT" sz="3600" i="1" dirty="0"/>
              <a:t>Ordem do dia</a:t>
            </a:r>
            <a:endParaRPr lang="pt-PT" sz="3600" dirty="0"/>
          </a:p>
        </p:txBody>
      </p:sp>
      <p:sp>
        <p:nvSpPr>
          <p:cNvPr id="3" name="Retângulo 2"/>
          <p:cNvSpPr/>
          <p:nvPr/>
        </p:nvSpPr>
        <p:spPr>
          <a:xfrm>
            <a:off x="579549" y="1093560"/>
            <a:ext cx="7959144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pt-PT" b="1" dirty="0"/>
          </a:p>
          <a:p>
            <a:endParaRPr lang="pt-PT" b="1" cap="all" dirty="0"/>
          </a:p>
          <a:p>
            <a:pPr marL="342900" indent="-342900">
              <a:buFont typeface="+mj-lt"/>
              <a:buAutoNum type="arabicPeriod"/>
            </a:pPr>
            <a:r>
              <a:rPr lang="pt-PT" sz="2000" b="1" dirty="0"/>
              <a:t>Analisar e aprovar a ata da reunião anterior;</a:t>
            </a:r>
          </a:p>
          <a:p>
            <a:pPr marL="342900" indent="-342900">
              <a:buFont typeface="+mj-lt"/>
              <a:buAutoNum type="arabicPeriod"/>
            </a:pPr>
            <a:endParaRPr lang="pt-PT" sz="2000" b="1" dirty="0"/>
          </a:p>
          <a:p>
            <a:pPr marL="342900" indent="-342900">
              <a:buFont typeface="+mj-lt"/>
              <a:buAutoNum type="arabicPeriod"/>
            </a:pPr>
            <a:r>
              <a:rPr lang="pt-PT" sz="2000" b="1" dirty="0"/>
              <a:t>Avaliar o estado dos pontos de ação da reunião anterior;</a:t>
            </a:r>
          </a:p>
          <a:p>
            <a:pPr marL="342900" indent="-342900">
              <a:buFont typeface="+mj-lt"/>
              <a:buAutoNum type="arabicPeriod"/>
            </a:pPr>
            <a:endParaRPr lang="pt-PT" sz="2000" b="1" dirty="0"/>
          </a:p>
          <a:p>
            <a:pPr marL="342900" indent="-342900">
              <a:buFont typeface="+mj-lt"/>
              <a:buAutoNum type="arabicPeriod"/>
            </a:pPr>
            <a:r>
              <a:rPr lang="pt-PT" sz="2000" b="1" dirty="0"/>
              <a:t>Discutir e aprovar o relatório de avaliação conjunta 2019;</a:t>
            </a:r>
          </a:p>
          <a:p>
            <a:pPr marL="342900" indent="-342900">
              <a:buFont typeface="+mj-lt"/>
              <a:buAutoNum type="arabicPeriod"/>
            </a:pPr>
            <a:endParaRPr lang="pt-PT" sz="2000" b="1" dirty="0"/>
          </a:p>
          <a:p>
            <a:pPr marL="342900" indent="-342900">
              <a:buFont typeface="+mj-lt"/>
              <a:buAutoNum type="arabicPeriod"/>
            </a:pPr>
            <a:r>
              <a:rPr lang="pt-PT" sz="2000" b="1" dirty="0"/>
              <a:t>Discutir e aprovar o plano de preparação e resposta á epidemia de sarampo;</a:t>
            </a:r>
          </a:p>
          <a:p>
            <a:pPr marL="342900" indent="-342900">
              <a:buFont typeface="+mj-lt"/>
              <a:buAutoNum type="arabicPeriod"/>
            </a:pPr>
            <a:endParaRPr lang="pt-PT" sz="2000" b="1" dirty="0"/>
          </a:p>
          <a:p>
            <a:pPr marL="342900" indent="-342900">
              <a:buFont typeface="+mj-lt"/>
              <a:buAutoNum type="arabicPeriod"/>
            </a:pPr>
            <a:r>
              <a:rPr lang="pt-PT" sz="2000" b="1" dirty="0"/>
              <a:t>Discutir aprovar o plano de eliminação de epidemia de febre amarela;</a:t>
            </a:r>
          </a:p>
          <a:p>
            <a:pPr marL="342900" indent="-342900">
              <a:buFont typeface="+mj-lt"/>
              <a:buAutoNum type="arabicPeriod"/>
            </a:pPr>
            <a:endParaRPr lang="pt-PT" sz="2000" b="1" dirty="0"/>
          </a:p>
          <a:p>
            <a:pPr marL="342900" indent="-342900">
              <a:buFont typeface="+mj-lt"/>
              <a:buAutoNum type="arabicPeriod"/>
            </a:pPr>
            <a:r>
              <a:rPr lang="pt-PT" sz="2000" b="1" dirty="0"/>
              <a:t>Discutir e aprovar o plano operacional anual do SIVE 2020;</a:t>
            </a:r>
          </a:p>
          <a:p>
            <a:pPr marL="342900" indent="-342900">
              <a:buFont typeface="+mj-lt"/>
              <a:buAutoNum type="arabicPeriod"/>
            </a:pPr>
            <a:endParaRPr lang="pt-PT" sz="2000" b="1" dirty="0"/>
          </a:p>
          <a:p>
            <a:pPr marL="342900" indent="-342900">
              <a:buFont typeface="+mj-lt"/>
              <a:buAutoNum type="arabicPeriod"/>
            </a:pPr>
            <a:r>
              <a:rPr lang="pt-PT" sz="2000" b="1" dirty="0"/>
              <a:t>Diversos</a:t>
            </a:r>
            <a:endParaRPr lang="pt-PT" sz="2000" dirty="0"/>
          </a:p>
        </p:txBody>
      </p:sp>
    </p:spTree>
    <p:extLst>
      <p:ext uri="{BB962C8B-B14F-4D97-AF65-F5344CB8AC3E}">
        <p14:creationId xmlns:p14="http://schemas.microsoft.com/office/powerpoint/2010/main" val="22543590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1489" y="260622"/>
            <a:ext cx="8201905" cy="834082"/>
          </a:xfrm>
        </p:spPr>
        <p:txBody>
          <a:bodyPr/>
          <a:lstStyle/>
          <a:p>
            <a:pPr algn="ctr"/>
            <a:r>
              <a:rPr lang="pt-PT" i="1" dirty="0"/>
              <a:t>RECOMENDAÇÕES</a:t>
            </a:r>
            <a:endParaRPr lang="pt-PT" dirty="0"/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263105"/>
              </p:ext>
            </p:extLst>
          </p:nvPr>
        </p:nvGraphicFramePr>
        <p:xfrm>
          <a:off x="121490" y="798493"/>
          <a:ext cx="8889160" cy="5713835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3627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17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086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22040"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UESTÕES</a:t>
                      </a:r>
                      <a:r>
                        <a:rPr lang="en-US" sz="18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BORDADAS</a:t>
                      </a:r>
                      <a:endParaRPr lang="pt-PT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az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NTOS DE AÇÃO</a:t>
                      </a:r>
                    </a:p>
                    <a:p>
                      <a:pPr algn="ctr"/>
                      <a:endParaRPr lang="pt-PT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25596"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dirty="0">
                          <a:solidFill>
                            <a:schemeClr val="tx1"/>
                          </a:solidFill>
                        </a:rPr>
                        <a:t>Elaboração de um Canevá </a:t>
                      </a:r>
                      <a:r>
                        <a:rPr lang="pt-PT" sz="1400" b="0" dirty="0">
                          <a:solidFill>
                            <a:schemeClr val="tx1"/>
                          </a:solidFill>
                        </a:rPr>
                        <a:t>e</a:t>
                      </a:r>
                      <a:r>
                        <a:rPr lang="pt-BR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alização de um atelier integrando todos os programas do MINSAP para apresentaçao do formato e os procedimentos administrativos. </a:t>
                      </a:r>
                      <a:endParaRPr lang="pt-PT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 meses</a:t>
                      </a:r>
                      <a:endParaRPr lang="pt-PT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335" marR="13335" marT="13335" marB="13335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Não </a:t>
                      </a:r>
                      <a:r>
                        <a:rPr lang="en-US" sz="1800" b="1" kern="12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i</a:t>
                      </a: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1" kern="12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ealizado</a:t>
                      </a: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1" kern="12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evido</a:t>
                      </a: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a Pandemia Covid 19</a:t>
                      </a:r>
                      <a:endParaRPr lang="pt-PT" sz="1800" b="1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3335" marR="13335" marT="13335" marB="13335"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10902">
                <a:tc>
                  <a:txBody>
                    <a:bodyPr/>
                    <a:lstStyle/>
                    <a:p>
                      <a:pPr marL="0" marR="0" lvl="0" indent="0" algn="l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menção não só dos números dos</a:t>
                      </a:r>
                      <a:r>
                        <a:rPr lang="pt-BR" sz="1400" b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ticipantes,</a:t>
                      </a:r>
                      <a:r>
                        <a:rPr lang="pt-BR" sz="1400" b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o também os respeitivos nomes e perfis.</a:t>
                      </a:r>
                      <a:endParaRPr lang="pt-PT" sz="14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pt-PT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8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enhuma atividade de formação foi realizada 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10902">
                <a:tc>
                  <a:txBody>
                    <a:bodyPr/>
                    <a:lstStyle/>
                    <a:p>
                      <a:pPr marL="0" marR="0" lvl="0" indent="0" algn="l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noProof="0" dirty="0"/>
                        <a:t>Instituição de um grupo interministerial para harmonização de dados da população (definição do denominado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 mês</a:t>
                      </a:r>
                      <a:endParaRPr lang="pt-PT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pt-PT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ão </a:t>
                      </a:r>
                      <a:r>
                        <a:rPr lang="en-US" sz="1800" b="1" kern="12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i</a:t>
                      </a: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1" kern="12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ealizado</a:t>
                      </a: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1" kern="12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evido</a:t>
                      </a: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1" kern="120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andemia Covid 19</a:t>
                      </a:r>
                      <a:endParaRPr lang="pt-PT" sz="1800" b="1" kern="1200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80875">
                <a:tc>
                  <a:txBody>
                    <a:bodyPr/>
                    <a:lstStyle/>
                    <a:p>
                      <a:pPr marL="0" marR="0" lvl="0" indent="0" algn="l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comendação de transferência de  fundos para as contas  bancarias do programa</a:t>
                      </a:r>
                    </a:p>
                    <a:p>
                      <a:pPr marL="0" marR="0" lvl="0" indent="0" algn="l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PT" sz="14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8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e imediato</a:t>
                      </a:r>
                      <a:endParaRPr lang="pt-PT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3335" marR="13335" marT="13335" marB="13335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600" b="1" kern="120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nvio</a:t>
                      </a:r>
                      <a:r>
                        <a:rPr lang="pt-PT" sz="1600" b="1" kern="1200" baseline="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de o</a:t>
                      </a:r>
                      <a:r>
                        <a:rPr lang="pt-PT" sz="1600" b="1" kern="120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icio a DGASS,</a:t>
                      </a:r>
                      <a:r>
                        <a:rPr lang="pt-PT" sz="1600" b="1" kern="1200" baseline="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mudança de fax-mil.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 espera de novas orientações do MINSAP</a:t>
                      </a:r>
                    </a:p>
                  </a:txBody>
                  <a:tcPr marL="13335" marR="13335" marT="13335" marB="13335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32942">
                <a:tc>
                  <a:txBody>
                    <a:bodyPr/>
                    <a:lstStyle/>
                    <a:p>
                      <a:pPr marL="0" marR="0" lvl="0" indent="0" algn="l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PT" sz="1400" noProof="0" dirty="0"/>
                    </a:p>
                    <a:p>
                      <a:pPr marL="0" marR="0" lvl="0" indent="0" algn="l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noProof="0" dirty="0"/>
                        <a:t>Documentação do processo de busca de estrategia  de vacinação meio urbano</a:t>
                      </a:r>
                    </a:p>
                    <a:p>
                      <a:endParaRPr lang="pt-PT" sz="1400" dirty="0"/>
                    </a:p>
                    <a:p>
                      <a:endParaRPr lang="pt-PT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8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e imediato</a:t>
                      </a:r>
                      <a:endParaRPr lang="pt-PT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7780" marR="17780" marT="17780" marB="1778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pt-PT" sz="18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cesso do recrutamento do ATI</a:t>
                      </a:r>
                      <a:r>
                        <a:rPr lang="pt-PT" sz="1800" b="1" kern="1200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endParaRPr lang="pt-PT" sz="1800" b="1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7780" marR="17780" marT="17780" marB="17780"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64296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1489" y="118955"/>
            <a:ext cx="8816451" cy="576504"/>
          </a:xfrm>
        </p:spPr>
        <p:txBody>
          <a:bodyPr/>
          <a:lstStyle/>
          <a:p>
            <a:pPr algn="ctr"/>
            <a:r>
              <a:rPr lang="pt-PT" i="1" dirty="0"/>
              <a:t>RECOMENDAÇÕES</a:t>
            </a:r>
            <a:endParaRPr lang="pt-PT" dirty="0"/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9125155"/>
              </p:ext>
            </p:extLst>
          </p:nvPr>
        </p:nvGraphicFramePr>
        <p:xfrm>
          <a:off x="257175" y="695459"/>
          <a:ext cx="8680765" cy="559590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6103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255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448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10542"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UESTÕES</a:t>
                      </a:r>
                      <a:r>
                        <a:rPr lang="en-US" sz="18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BORDADAS</a:t>
                      </a:r>
                      <a:endParaRPr lang="pt-PT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azo</a:t>
                      </a:r>
                    </a:p>
                    <a:p>
                      <a:pPr algn="ctr"/>
                      <a:endParaRPr lang="pt-PT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NTOS DE AÇÃ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9033">
                <a:tc>
                  <a:txBody>
                    <a:bodyPr/>
                    <a:lstStyle/>
                    <a:p>
                      <a:pPr algn="just"/>
                      <a:r>
                        <a:rPr lang="pt-PT" sz="1400" noProof="0" dirty="0"/>
                        <a:t>Recrutamento</a:t>
                      </a:r>
                      <a:r>
                        <a:rPr lang="pt-PT" sz="1400" baseline="0" noProof="0" dirty="0"/>
                        <a:t> de pessoal para o programa  </a:t>
                      </a:r>
                      <a:endParaRPr lang="pt-PT" sz="14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PT" sz="1800" b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600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DR elaborado, pessoal identificado,  pedido entregue ao MINSAP </a:t>
                      </a: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68935"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baseline="0" noProof="0" dirty="0"/>
                        <a:t>Elaboração de politica nacional de vacinação</a:t>
                      </a:r>
                      <a:endParaRPr lang="pt-PT" sz="14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PT" sz="1800" b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600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DR  elaborado e carta de solicitação enviado ao parceiro</a:t>
                      </a: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24565"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noProof="0" dirty="0"/>
                        <a:t>Fornecimento de informações sobre</a:t>
                      </a:r>
                      <a:r>
                        <a:rPr lang="pt-PT" sz="1400" baseline="0" noProof="0" dirty="0"/>
                        <a:t> evolução e</a:t>
                      </a:r>
                      <a:r>
                        <a:rPr lang="pt-PT" sz="1400" noProof="0" dirty="0"/>
                        <a:t> medidas preventivas da epidemia do coronavírus incluindo</a:t>
                      </a:r>
                      <a:r>
                        <a:rPr lang="pt-PT" sz="1400" baseline="0" noProof="0" dirty="0"/>
                        <a:t> a elaboração de um plano de contingência para fazer face a um eventual flagel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PT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600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lano de contingência  elaborado</a:t>
                      </a:r>
                      <a:r>
                        <a:rPr lang="pt-PT" sz="16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elo COES</a:t>
                      </a:r>
                    </a:p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PT" sz="16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72534">
                <a:tc rowSpan="2"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baseline="0" noProof="0" dirty="0"/>
                        <a:t>Pedido de esclarecimento sobre cofinanciamento para compra vacinas tradicionais</a:t>
                      </a:r>
                    </a:p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PT" sz="1400" baseline="0" noProof="0" dirty="0"/>
                    </a:p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PT" sz="1400" baseline="0" noProof="0" dirty="0"/>
                    </a:p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PT" sz="1400" baseline="0" noProof="0" dirty="0"/>
                    </a:p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baseline="0" noProof="0" dirty="0"/>
                        <a:t>assistência técnica para reparação e instalação de incineradores</a:t>
                      </a:r>
                    </a:p>
                    <a:p>
                      <a:pPr algn="just"/>
                      <a:endParaRPr lang="pt-PT" sz="1400" noProof="0" dirty="0"/>
                    </a:p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PT" sz="14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PT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6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financiamento processo em curso: Uma carta enviada ao M.F. pedindo o financiamento. falta o titulo para o desembolso de fundo</a:t>
                      </a: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29318">
                <a:tc vMerge="1">
                  <a:txBody>
                    <a:bodyPr/>
                    <a:lstStyle/>
                    <a:p>
                      <a:pPr algn="just"/>
                      <a:endParaRPr lang="pt-PT" sz="14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pt-PT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6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egada do técnico prevista para final do mês</a:t>
                      </a: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35320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1489" y="118955"/>
            <a:ext cx="8816451" cy="576504"/>
          </a:xfrm>
        </p:spPr>
        <p:txBody>
          <a:bodyPr/>
          <a:lstStyle/>
          <a:p>
            <a:pPr algn="ctr"/>
            <a:r>
              <a:rPr lang="pt-PT" i="1" dirty="0"/>
              <a:t>RECOMENDAÇÕES</a:t>
            </a:r>
            <a:endParaRPr lang="pt-PT" dirty="0"/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1086679"/>
              </p:ext>
            </p:extLst>
          </p:nvPr>
        </p:nvGraphicFramePr>
        <p:xfrm>
          <a:off x="121489" y="900981"/>
          <a:ext cx="8919480" cy="4676299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7096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785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312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00663"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UESTÕES</a:t>
                      </a:r>
                      <a:r>
                        <a:rPr lang="en-US" sz="18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BORDADAS</a:t>
                      </a:r>
                      <a:endParaRPr lang="pt-PT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azo</a:t>
                      </a:r>
                    </a:p>
                    <a:p>
                      <a:pPr algn="ctr"/>
                      <a:endParaRPr lang="pt-PT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NTOS DE AÇÃ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94006"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800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não implementação da politica de frascos abertos como uma das causas de baixas coberturas vacinais e elevadas taxas de abando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32333" rtl="0" eaLnBrk="1" latinLnBrk="0" hangingPunct="1"/>
                      <a:endParaRPr lang="pt-PT" sz="18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8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existência do documento da politica de frasco aberto</a:t>
                      </a:r>
                      <a:r>
                        <a:rPr lang="pt-PT" sz="1800" kern="1200" baseline="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09650"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800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tradução de documentos estratégicos do francês para o portuguê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32333" rtl="0" eaLnBrk="1" latinLnBrk="0" hangingPunct="1"/>
                      <a:endParaRPr lang="pt-PT" sz="18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32333" rtl="0" eaLnBrk="1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pt-PT" sz="18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s documentos estratégicos elaborados no ano 2020 tem sido traduzidos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71980">
                <a:tc>
                  <a:txBody>
                    <a:bodyPr/>
                    <a:lstStyle/>
                    <a:p>
                      <a:pPr marL="0" algn="just" defTabSz="932333" rtl="0" eaLnBrk="1" latinLnBrk="0" hangingPunct="1"/>
                      <a:endParaRPr lang="pt-PT" sz="1800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just" defTabSz="932333" rtl="0" eaLnBrk="1" latinLnBrk="0" hangingPunct="1"/>
                      <a:r>
                        <a:rPr lang="pt-PT" sz="1800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dução de atas de reunião  CCIA no prazo de uma sema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PT" sz="18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just" defTabSz="932333" rtl="0" eaLnBrk="1" latinLnBrk="0" hangingPunct="1"/>
                      <a:endParaRPr lang="pt-PT" sz="18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32333" rtl="0" eaLnBrk="1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8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just" defTabSz="932333" rtl="0" eaLnBrk="1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8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ta produzida </a:t>
                      </a:r>
                      <a:r>
                        <a:rPr lang="pt-PT" sz="1800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 enviada aos membros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20940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98490" y="234864"/>
            <a:ext cx="7469747" cy="1156054"/>
          </a:xfrm>
        </p:spPr>
        <p:txBody>
          <a:bodyPr anchor="ctr"/>
          <a:lstStyle/>
          <a:p>
            <a:pPr algn="ctr"/>
            <a:r>
              <a:rPr lang="pt-PT" sz="280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ocumentos validados com emendas</a:t>
            </a:r>
            <a:endParaRPr lang="pt-PT" sz="2800" dirty="0">
              <a:solidFill>
                <a:schemeClr val="tx1"/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629418" y="1547193"/>
            <a:ext cx="7778253" cy="462690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>
              <a:spcBef>
                <a:spcPts val="900"/>
              </a:spcBef>
              <a:spcAft>
                <a:spcPts val="800"/>
              </a:spcAft>
            </a:pPr>
            <a:endParaRPr lang="pt-PT" dirty="0">
              <a:solidFill>
                <a:srgbClr val="FF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85750" lvl="0" indent="-285750">
              <a:spcBef>
                <a:spcPts val="900"/>
              </a:spcBef>
              <a:buFont typeface="Wingdings" panose="05000000000000000000" pitchFamily="2" charset="2"/>
              <a:buChar char="§"/>
            </a:pPr>
            <a:r>
              <a:rPr lang="pt-PT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ta da reunião anterior de CCIA</a:t>
            </a:r>
          </a:p>
          <a:p>
            <a:pPr marL="285750" lvl="0" indent="-285750">
              <a:spcBef>
                <a:spcPts val="900"/>
              </a:spcBef>
              <a:buFont typeface="Wingdings" panose="05000000000000000000" pitchFamily="2" charset="2"/>
              <a:buChar char="§"/>
            </a:pPr>
            <a:endParaRPr lang="pt-PT" sz="2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85750" lvl="0" indent="-285750">
              <a:spcBef>
                <a:spcPts val="900"/>
              </a:spcBef>
              <a:buFont typeface="Wingdings" panose="05000000000000000000" pitchFamily="2" charset="2"/>
              <a:buChar char="§"/>
            </a:pPr>
            <a:r>
              <a:rPr lang="pt-PT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ontos de ação da reunião anterior; </a:t>
            </a:r>
          </a:p>
          <a:p>
            <a:pPr marL="285750" lvl="0" indent="-285750">
              <a:spcBef>
                <a:spcPts val="900"/>
              </a:spcBef>
              <a:buFont typeface="Wingdings" panose="05000000000000000000" pitchFamily="2" charset="2"/>
              <a:buChar char="§"/>
            </a:pPr>
            <a:endParaRPr lang="pt-PT" sz="2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>
              <a:buFont typeface="Wingdings" panose="05000000000000000000" pitchFamily="2" charset="2"/>
              <a:buChar char="§"/>
            </a:pPr>
            <a:r>
              <a:rPr lang="pt-PT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latório de avaliação conjunta MINSAP/GAVI/OMS/UNICEF 2019 e outros parceiros de implementação;</a:t>
            </a:r>
          </a:p>
          <a:p>
            <a:pPr marL="342900" lvl="0" indent="-342900">
              <a:buFont typeface="Wingdings" panose="05000000000000000000" pitchFamily="2" charset="2"/>
              <a:buChar char="§"/>
            </a:pPr>
            <a:endParaRPr lang="pt-PT" sz="2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>
              <a:buFont typeface="Wingdings" panose="05000000000000000000" pitchFamily="2" charset="2"/>
              <a:buChar char="§"/>
            </a:pPr>
            <a:r>
              <a:rPr lang="pt-PT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lano de preparação e resposta à epidemia de sarampo;</a:t>
            </a:r>
          </a:p>
          <a:p>
            <a:pPr marL="342900" lvl="0" indent="-342900">
              <a:buFont typeface="Wingdings" panose="05000000000000000000" pitchFamily="2" charset="2"/>
              <a:buChar char="§"/>
            </a:pPr>
            <a:endParaRPr lang="pt-PT" sz="2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>
              <a:buFont typeface="Wingdings" panose="05000000000000000000" pitchFamily="2" charset="2"/>
              <a:buChar char="§"/>
            </a:pPr>
            <a:r>
              <a:rPr lang="pt-PT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lano de eliminação de epidemia de febre amarela 2019;</a:t>
            </a:r>
          </a:p>
          <a:p>
            <a:pPr marL="342900" lvl="0" indent="-342900">
              <a:buFont typeface="Wingdings" panose="05000000000000000000" pitchFamily="2" charset="2"/>
              <a:buChar char="§"/>
            </a:pPr>
            <a:endParaRPr lang="pt-PT" sz="2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>
              <a:buFont typeface="Wingdings" panose="05000000000000000000" pitchFamily="2" charset="2"/>
              <a:buChar char="§"/>
            </a:pPr>
            <a:r>
              <a:rPr lang="pt-PT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lano operacional anual do SIVE 2020</a:t>
            </a:r>
            <a:r>
              <a:rPr lang="pt-PT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302997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72732" y="1532587"/>
            <a:ext cx="7662929" cy="3747752"/>
          </a:xfrm>
        </p:spPr>
        <p:txBody>
          <a:bodyPr anchor="ctr"/>
          <a:lstStyle/>
          <a:p>
            <a:pPr algn="ctr"/>
            <a:br>
              <a:rPr lang="pt-PT" dirty="0"/>
            </a:br>
            <a:br>
              <a:rPr lang="pt-PT" dirty="0"/>
            </a:br>
            <a:r>
              <a:rPr lang="pt-PT" sz="4000" dirty="0"/>
              <a:t>OBRIGADO PELA ATENÇÃO</a:t>
            </a:r>
            <a:br>
              <a:rPr lang="pt-PT" sz="4000" dirty="0"/>
            </a:br>
            <a:br>
              <a:rPr lang="pt-PT" dirty="0"/>
            </a:br>
            <a:br>
              <a:rPr lang="pt-PT" dirty="0"/>
            </a:br>
            <a:br>
              <a:rPr lang="pt-PT" dirty="0"/>
            </a:br>
            <a:br>
              <a:rPr lang="pt-PT" dirty="0"/>
            </a:b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9199749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A2TAglEE6PyODkoH5t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Pn8gMgTESDD2Eck_SzF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A2TAglEE6PyODkoH5t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Pn8gMgTESDD2Eck_SzF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Custom 4">
      <a:dk1>
        <a:srgbClr val="000000"/>
      </a:dk1>
      <a:lt1>
        <a:srgbClr val="FFFFFF"/>
      </a:lt1>
      <a:dk2>
        <a:srgbClr val="204024"/>
      </a:dk2>
      <a:lt2>
        <a:srgbClr val="FFFFFF"/>
      </a:lt2>
      <a:accent1>
        <a:srgbClr val="F5FBBC"/>
      </a:accent1>
      <a:accent2>
        <a:srgbClr val="E6F559"/>
      </a:accent2>
      <a:accent3>
        <a:srgbClr val="FFFFFF"/>
      </a:accent3>
      <a:accent4>
        <a:srgbClr val="000000"/>
      </a:accent4>
      <a:accent5>
        <a:srgbClr val="E0EDFD"/>
      </a:accent5>
      <a:accent6>
        <a:srgbClr val="ACE6B6"/>
      </a:accent6>
      <a:hlink>
        <a:srgbClr val="00B050"/>
      </a:hlink>
      <a:folHlink>
        <a:srgbClr val="204024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>
        <a:spAutoFit/>
      </a:bodyPr>
      <a:lstStyle>
        <a:defPPr marL="133350" indent="-137160" defTabSz="787400">
          <a:buClr>
            <a:schemeClr val="tx2"/>
          </a:buClr>
          <a:buSzPct val="125000"/>
          <a:buFont typeface="Arial" pitchFamily="34" charset="0"/>
          <a:buChar char="•"/>
          <a:defRPr dirty="0" smtClean="0"/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 anchor="ctr">
        <a:spAutoFit/>
      </a:bodyPr>
      <a:lstStyle>
        <a:defPPr>
          <a:defRPr sz="1400" dirty="0" smtClean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8_Theme3">
  <a:themeElements>
    <a:clrScheme name="Custom 4">
      <a:dk1>
        <a:srgbClr val="000000"/>
      </a:dk1>
      <a:lt1>
        <a:srgbClr val="FFFFFF"/>
      </a:lt1>
      <a:dk2>
        <a:srgbClr val="204024"/>
      </a:dk2>
      <a:lt2>
        <a:srgbClr val="FFFFFF"/>
      </a:lt2>
      <a:accent1>
        <a:srgbClr val="F5FBBC"/>
      </a:accent1>
      <a:accent2>
        <a:srgbClr val="E6F559"/>
      </a:accent2>
      <a:accent3>
        <a:srgbClr val="FFFFFF"/>
      </a:accent3>
      <a:accent4>
        <a:srgbClr val="000000"/>
      </a:accent4>
      <a:accent5>
        <a:srgbClr val="E0EDFD"/>
      </a:accent5>
      <a:accent6>
        <a:srgbClr val="ACE6B6"/>
      </a:accent6>
      <a:hlink>
        <a:srgbClr val="00B050"/>
      </a:hlink>
      <a:folHlink>
        <a:srgbClr val="204024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>
        <a:spAutoFit/>
      </a:bodyPr>
      <a:lstStyle>
        <a:defPPr marL="133350" indent="-137160" defTabSz="787400">
          <a:buClr>
            <a:schemeClr val="tx2"/>
          </a:buClr>
          <a:buSzPct val="125000"/>
          <a:buFont typeface="Arial" pitchFamily="34" charset="0"/>
          <a:buChar char="•"/>
          <a:defRPr dirty="0" smtClean="0"/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45720" tIns="45720" rIns="91440" bIns="45720" numCol="1" rtlCol="0" anchor="t" anchorCtr="0" compatLnSpc="1">
        <a:prstTxWarp prst="textNoShape">
          <a:avLst/>
        </a:prstTxWarp>
        <a:spAutoFit/>
      </a:bodyPr>
      <a:lstStyle>
        <a:defPPr marL="182880" marR="0" indent="-182880" algn="l" defTabSz="895255" rtl="0" eaLnBrk="1" fontAlgn="base" latinLnBrk="0" hangingPunct="1">
          <a:lnSpc>
            <a:spcPct val="100000"/>
          </a:lnSpc>
          <a:spcBef>
            <a:spcPts val="200"/>
          </a:spcBef>
          <a:spcAft>
            <a:spcPts val="200"/>
          </a:spcAft>
          <a:buClr>
            <a:srgbClr val="204024"/>
          </a:buClr>
          <a:buSzPct val="101000"/>
          <a:buFont typeface="Wingdings" pitchFamily="2" charset="2"/>
          <a:buChar char="§"/>
          <a:tabLst/>
          <a:defRPr kumimoji="0" sz="12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0_Solina 1">
  <a:themeElements>
    <a:clrScheme name="Custom 4">
      <a:dk1>
        <a:srgbClr val="000000"/>
      </a:dk1>
      <a:lt1>
        <a:srgbClr val="FFFFFF"/>
      </a:lt1>
      <a:dk2>
        <a:srgbClr val="204024"/>
      </a:dk2>
      <a:lt2>
        <a:srgbClr val="FFFFFF"/>
      </a:lt2>
      <a:accent1>
        <a:srgbClr val="F5FBBC"/>
      </a:accent1>
      <a:accent2>
        <a:srgbClr val="E6F559"/>
      </a:accent2>
      <a:accent3>
        <a:srgbClr val="FFFFFF"/>
      </a:accent3>
      <a:accent4>
        <a:srgbClr val="000000"/>
      </a:accent4>
      <a:accent5>
        <a:srgbClr val="E0EDFD"/>
      </a:accent5>
      <a:accent6>
        <a:srgbClr val="ACE6B6"/>
      </a:accent6>
      <a:hlink>
        <a:srgbClr val="00B050"/>
      </a:hlink>
      <a:folHlink>
        <a:srgbClr val="204024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>
        <a:spAutoFit/>
      </a:bodyPr>
      <a:lstStyle>
        <a:defPPr marL="133350" indent="-137160" defTabSz="787400">
          <a:buClr>
            <a:schemeClr val="tx2"/>
          </a:buClr>
          <a:buSzPct val="125000"/>
          <a:buFont typeface="Arial" pitchFamily="34" charset="0"/>
          <a:buChar char="•"/>
          <a:defRPr dirty="0" smtClean="0"/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rgbClr val="F4FEB8"/>
        </a:solidFill>
        <a:ln>
          <a:solidFill>
            <a:schemeClr val="bg1">
              <a:lumMod val="85000"/>
            </a:schemeClr>
          </a:solidFill>
          <a:prstDash val="dashDot"/>
        </a:ln>
      </a:spPr>
      <a:bodyPr wrap="square" lIns="72000" tIns="72000" rIns="72000" bIns="72000" rtlCol="0">
        <a:noAutofit/>
      </a:bodyPr>
      <a:lstStyle>
        <a:defPPr>
          <a:defRPr sz="1200" b="1" dirty="0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4" id="{9491E5FA-3594-4160-B465-8C4E298E5991}" vid="{A61715D2-EC3C-4E52-8A04-97C6D5910F41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1244</TotalTime>
  <Words>547</Words>
  <Application>Microsoft Office PowerPoint</Application>
  <PresentationFormat>Apresentação no Ecrã (4:3)</PresentationFormat>
  <Paragraphs>104</Paragraphs>
  <Slides>8</Slides>
  <Notes>0</Notes>
  <HiddenSlides>0</HiddenSlides>
  <MMClips>0</MMClips>
  <ScaleCrop>false</ScaleCrop>
  <HeadingPairs>
    <vt:vector size="8" baseType="variant">
      <vt:variant>
        <vt:lpstr>Tipos de letra usados</vt:lpstr>
      </vt:variant>
      <vt:variant>
        <vt:i4>5</vt:i4>
      </vt:variant>
      <vt:variant>
        <vt:lpstr>Tema</vt:lpstr>
      </vt:variant>
      <vt:variant>
        <vt:i4>3</vt:i4>
      </vt:variant>
      <vt:variant>
        <vt:lpstr>Servidores OLE incorporados</vt:lpstr>
      </vt:variant>
      <vt:variant>
        <vt:i4>2</vt:i4>
      </vt:variant>
      <vt:variant>
        <vt:lpstr>Títulos dos diapositivos</vt:lpstr>
      </vt:variant>
      <vt:variant>
        <vt:i4>8</vt:i4>
      </vt:variant>
    </vt:vector>
  </HeadingPairs>
  <TitlesOfParts>
    <vt:vector size="18" baseType="lpstr">
      <vt:lpstr>Arial</vt:lpstr>
      <vt:lpstr>Arial Black</vt:lpstr>
      <vt:lpstr>Calibri</vt:lpstr>
      <vt:lpstr>Times New Roman</vt:lpstr>
      <vt:lpstr>Wingdings</vt:lpstr>
      <vt:lpstr>Default Theme</vt:lpstr>
      <vt:lpstr>8_Theme3</vt:lpstr>
      <vt:lpstr>10_Solina 1</vt:lpstr>
      <vt:lpstr>think-cell Slide</vt:lpstr>
      <vt:lpstr>Microsoft Word Picture</vt:lpstr>
      <vt:lpstr>Apresentação do PowerPoint</vt:lpstr>
      <vt:lpstr> Ata da reunião CCIA     </vt:lpstr>
      <vt:lpstr> Ordem do dia</vt:lpstr>
      <vt:lpstr>RECOMENDAÇÕES</vt:lpstr>
      <vt:lpstr>RECOMENDAÇÕES</vt:lpstr>
      <vt:lpstr>RECOMENDAÇÕES</vt:lpstr>
      <vt:lpstr>Documentos validados com emendas</vt:lpstr>
      <vt:lpstr>  OBRIGADO PELA ATENÇÃO  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eph Agada</dc:creator>
  <cp:lastModifiedBy>Domingos N'deta</cp:lastModifiedBy>
  <cp:revision>356</cp:revision>
  <dcterms:created xsi:type="dcterms:W3CDTF">2020-08-26T13:28:36Z</dcterms:created>
  <dcterms:modified xsi:type="dcterms:W3CDTF">2020-11-18T08:34:54Z</dcterms:modified>
</cp:coreProperties>
</file>